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jpg" ContentType="image/jpeg"/>
  <Default Extension="emf" ContentType="image/x-emf"/>
  <Default Extension="xlsx" ContentType="application/vnd.openxmlformats-officedocument.spreadsheetml.sheet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3.xml" ContentType="application/vnd.openxmlformats-officedocument.them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4.xml" ContentType="application/vnd.openxmlformats-officedocument.theme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5.xml" ContentType="application/vnd.openxmlformats-officedocument.theme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6.xml" ContentType="application/vnd.openxmlformats-officedocument.theme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7.xml" ContentType="application/vnd.openxmlformats-officedocument.theme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8.xml" ContentType="application/vnd.openxmlformats-officedocument.theme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9.xml" ContentType="application/vnd.openxmlformats-officedocument.theme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10.xml" ContentType="application/vnd.openxmlformats-officedocument.theme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11.xml" ContentType="application/vnd.openxmlformats-officedocument.theme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12.xml" ContentType="application/vnd.openxmlformats-officedocument.theme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13.xml" ContentType="application/vnd.openxmlformats-officedocument.theme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14.xml" ContentType="application/vnd.openxmlformats-officedocument.theme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15.xml" ContentType="application/vnd.openxmlformats-officedocument.theme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16.xml" ContentType="application/vnd.openxmlformats-officedocument.theme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17.xml" ContentType="application/vnd.openxmlformats-officedocument.theme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18.xml" ContentType="application/vnd.openxmlformats-officedocument.theme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19.xml" ContentType="application/vnd.openxmlformats-officedocument.theme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theme/theme20.xml" ContentType="application/vnd.openxmlformats-officedocument.theme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theme/theme21.xml" ContentType="application/vnd.openxmlformats-officedocument.theme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heme/theme22.xml" ContentType="application/vnd.openxmlformats-officedocument.theme+xml"/>
  <Override PartName="/ppt/theme/theme23.xml" ContentType="application/vnd.openxmlformats-officedocument.theme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notesSlides/notesSlide1.xml" ContentType="application/vnd.openxmlformats-officedocument.presentationml.notesSlide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notesSlides/notesSlide2.xml" ContentType="application/vnd.openxmlformats-officedocument.presentationml.notesSlide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ink/ink1.xml" ContentType="application/inkml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charts/chart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saveSubsetFonts="1">
  <p:sldMasterIdLst>
    <p:sldMasterId id="2147483648" r:id="rId1"/>
    <p:sldMasterId id="2147483702" r:id="rId2"/>
    <p:sldMasterId id="2147483706" r:id="rId3"/>
    <p:sldMasterId id="2147483711" r:id="rId4"/>
    <p:sldMasterId id="2147483716" r:id="rId5"/>
    <p:sldMasterId id="2147483720" r:id="rId6"/>
    <p:sldMasterId id="2147483725" r:id="rId7"/>
    <p:sldMasterId id="2147483729" r:id="rId8"/>
    <p:sldMasterId id="2147483734" r:id="rId9"/>
    <p:sldMasterId id="2147483739" r:id="rId10"/>
    <p:sldMasterId id="2147483744" r:id="rId11"/>
    <p:sldMasterId id="2147483749" r:id="rId12"/>
    <p:sldMasterId id="2147483754" r:id="rId13"/>
    <p:sldMasterId id="2147483759" r:id="rId14"/>
    <p:sldMasterId id="2147483764" r:id="rId15"/>
    <p:sldMasterId id="2147483769" r:id="rId16"/>
    <p:sldMasterId id="2147483774" r:id="rId17"/>
    <p:sldMasterId id="2147483779" r:id="rId18"/>
    <p:sldMasterId id="2147483783" r:id="rId19"/>
    <p:sldMasterId id="2147483788" r:id="rId20"/>
    <p:sldMasterId id="2147483792" r:id="rId21"/>
  </p:sldMasterIdLst>
  <p:notesMasterIdLst>
    <p:notesMasterId r:id="rId29"/>
  </p:notesMasterIdLst>
  <p:handoutMasterIdLst>
    <p:handoutMasterId r:id="rId30"/>
  </p:handoutMasterIdLst>
  <p:sldIdLst>
    <p:sldId id="671" r:id="rId22"/>
    <p:sldId id="672" r:id="rId23"/>
    <p:sldId id="673" r:id="rId24"/>
    <p:sldId id="674" r:id="rId25"/>
    <p:sldId id="675" r:id="rId26"/>
    <p:sldId id="676" r:id="rId27"/>
    <p:sldId id="677" r:id="rId28"/>
  </p:sldIdLst>
  <p:sldSz cx="11949113" cy="6721475"/>
  <p:notesSz cx="9236075" cy="6954838"/>
  <p:custDataLst>
    <p:tags r:id="rId31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480" userDrawn="1">
          <p15:clr>
            <a:srgbClr val="A4A3A4"/>
          </p15:clr>
        </p15:guide>
        <p15:guide id="2" pos="812" userDrawn="1">
          <p15:clr>
            <a:srgbClr val="A4A3A4"/>
          </p15:clr>
        </p15:guide>
        <p15:guide id="3" pos="2952" userDrawn="1">
          <p15:clr>
            <a:srgbClr val="A4A3A4"/>
          </p15:clr>
        </p15:guide>
        <p15:guide id="4" orient="horz" pos="174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91" userDrawn="1">
          <p15:clr>
            <a:srgbClr val="A4A3A4"/>
          </p15:clr>
        </p15:guide>
        <p15:guide id="2" pos="2909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FF9933"/>
    <a:srgbClr val="0065BD"/>
    <a:srgbClr val="FFFFFF"/>
    <a:srgbClr val="E2E2E2"/>
    <a:srgbClr val="C5C5C5"/>
    <a:srgbClr val="F0A1A6"/>
    <a:srgbClr val="E9717A"/>
    <a:srgbClr val="B3B3B3"/>
    <a:srgbClr val="7188FB"/>
    <a:srgbClr val="CD202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251" autoAdjust="0"/>
    <p:restoredTop sz="96207" autoAdjust="0"/>
  </p:normalViewPr>
  <p:slideViewPr>
    <p:cSldViewPr snapToGrid="0" snapToObjects="1">
      <p:cViewPr>
        <p:scale>
          <a:sx n="95" d="100"/>
          <a:sy n="95" d="100"/>
        </p:scale>
        <p:origin x="3400" y="2064"/>
      </p:cViewPr>
      <p:guideLst>
        <p:guide orient="horz" pos="1480"/>
        <p:guide pos="812"/>
        <p:guide pos="2952"/>
        <p:guide orient="horz" pos="174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80" d="100"/>
          <a:sy n="80" d="100"/>
        </p:scale>
        <p:origin x="1530" y="102"/>
      </p:cViewPr>
      <p:guideLst>
        <p:guide orient="horz" pos="2191"/>
        <p:guide pos="2909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0" Type="http://schemas.openxmlformats.org/officeDocument/2006/relationships/slideMaster" Target="slideMasters/slideMaster20.xml"/><Relationship Id="rId21" Type="http://schemas.openxmlformats.org/officeDocument/2006/relationships/slideMaster" Target="slideMasters/slideMaster21.xml"/><Relationship Id="rId22" Type="http://schemas.openxmlformats.org/officeDocument/2006/relationships/slide" Target="slides/slide1.xml"/><Relationship Id="rId23" Type="http://schemas.openxmlformats.org/officeDocument/2006/relationships/slide" Target="slides/slide2.xml"/><Relationship Id="rId24" Type="http://schemas.openxmlformats.org/officeDocument/2006/relationships/slide" Target="slides/slide3.xml"/><Relationship Id="rId25" Type="http://schemas.openxmlformats.org/officeDocument/2006/relationships/slide" Target="slides/slide4.xml"/><Relationship Id="rId26" Type="http://schemas.openxmlformats.org/officeDocument/2006/relationships/slide" Target="slides/slide5.xml"/><Relationship Id="rId27" Type="http://schemas.openxmlformats.org/officeDocument/2006/relationships/slide" Target="slides/slide6.xml"/><Relationship Id="rId28" Type="http://schemas.openxmlformats.org/officeDocument/2006/relationships/slide" Target="slides/slide7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Master" Target="slideMasters/slideMaster3.xml"/><Relationship Id="rId4" Type="http://schemas.openxmlformats.org/officeDocument/2006/relationships/slideMaster" Target="slideMasters/slideMaster4.xml"/><Relationship Id="rId5" Type="http://schemas.openxmlformats.org/officeDocument/2006/relationships/slideMaster" Target="slideMasters/slideMaster5.xml"/><Relationship Id="rId30" Type="http://schemas.openxmlformats.org/officeDocument/2006/relationships/handoutMaster" Target="handoutMasters/handoutMaster1.xml"/><Relationship Id="rId31" Type="http://schemas.openxmlformats.org/officeDocument/2006/relationships/tags" Target="tags/tag1.xml"/><Relationship Id="rId32" Type="http://schemas.openxmlformats.org/officeDocument/2006/relationships/commentAuthors" Target="commentAuthors.xml"/><Relationship Id="rId9" Type="http://schemas.openxmlformats.org/officeDocument/2006/relationships/slideMaster" Target="slideMasters/slideMaster9.xml"/><Relationship Id="rId6" Type="http://schemas.openxmlformats.org/officeDocument/2006/relationships/slideMaster" Target="slideMasters/slideMaster6.xml"/><Relationship Id="rId7" Type="http://schemas.openxmlformats.org/officeDocument/2006/relationships/slideMaster" Target="slideMasters/slideMaster7.xml"/><Relationship Id="rId8" Type="http://schemas.openxmlformats.org/officeDocument/2006/relationships/slideMaster" Target="slideMasters/slideMaster8.xml"/><Relationship Id="rId33" Type="http://schemas.openxmlformats.org/officeDocument/2006/relationships/presProps" Target="presProps.xml"/><Relationship Id="rId34" Type="http://schemas.openxmlformats.org/officeDocument/2006/relationships/viewProps" Target="viewProps.xml"/><Relationship Id="rId35" Type="http://schemas.openxmlformats.org/officeDocument/2006/relationships/theme" Target="theme/theme1.xml"/><Relationship Id="rId36" Type="http://schemas.openxmlformats.org/officeDocument/2006/relationships/tableStyles" Target="tableStyles.xml"/><Relationship Id="rId10" Type="http://schemas.openxmlformats.org/officeDocument/2006/relationships/slideMaster" Target="slideMasters/slideMaster10.xml"/><Relationship Id="rId11" Type="http://schemas.openxmlformats.org/officeDocument/2006/relationships/slideMaster" Target="slideMasters/slideMaster11.xml"/><Relationship Id="rId12" Type="http://schemas.openxmlformats.org/officeDocument/2006/relationships/slideMaster" Target="slideMasters/slideMaster12.xml"/><Relationship Id="rId13" Type="http://schemas.openxmlformats.org/officeDocument/2006/relationships/slideMaster" Target="slideMasters/slideMaster13.xml"/><Relationship Id="rId14" Type="http://schemas.openxmlformats.org/officeDocument/2006/relationships/slideMaster" Target="slideMasters/slideMaster14.xml"/><Relationship Id="rId15" Type="http://schemas.openxmlformats.org/officeDocument/2006/relationships/slideMaster" Target="slideMasters/slideMaster15.xml"/><Relationship Id="rId16" Type="http://schemas.openxmlformats.org/officeDocument/2006/relationships/slideMaster" Target="slideMasters/slideMaster16.xml"/><Relationship Id="rId17" Type="http://schemas.openxmlformats.org/officeDocument/2006/relationships/slideMaster" Target="slideMasters/slideMaster17.xml"/><Relationship Id="rId18" Type="http://schemas.openxmlformats.org/officeDocument/2006/relationships/slideMaster" Target="slideMasters/slideMaster18.xml"/><Relationship Id="rId19" Type="http://schemas.openxmlformats.org/officeDocument/2006/relationships/slideMaster" Target="slideMasters/slideMaster19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00738531458599631"/>
          <c:y val="0.032481593763534"/>
          <c:w val="0.985229370828007"/>
          <c:h val="0.944997834560416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tx2"/>
            </a:solidFill>
            <a:ln w="9525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.0"/>
                  <c:y val="-0.0472065829363361"/>
                </c:manualLayout>
              </c:layout>
              <c:numFmt formatCode="#,##0.0;&quot;-&quot;#,##0.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79FB-F847-AD42-6B6D9612AF6D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1"/>
              <c:layout>
                <c:manualLayout>
                  <c:x val="0.0"/>
                  <c:y val="-0.34733650931139"/>
                </c:manualLayout>
              </c:layout>
              <c:numFmt formatCode="#,##0.0;&quot;-&quot;#,##0.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79FB-F847-AD42-6B6D9612AF6D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2"/>
              <c:layout>
                <c:manualLayout>
                  <c:x val="0.0"/>
                  <c:y val="-0.488956258120398"/>
                </c:manualLayout>
              </c:layout>
              <c:numFmt formatCode="#,##0.0;&quot;-&quot;#,##0.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79FB-F847-AD42-6B6D9612AF6D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General</c:formatCode>
                <c:ptCount val="3"/>
                <c:pt idx="0">
                  <c:v>101.2</c:v>
                </c:pt>
                <c:pt idx="1">
                  <c:v>106.2</c:v>
                </c:pt>
                <c:pt idx="2">
                  <c:v>108.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79FB-F847-AD42-6B6D9612AF6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1157122688"/>
        <c:axId val="1630880800"/>
      </c:barChart>
      <c:catAx>
        <c:axId val="115712268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28575">
            <a:solidFill>
              <a:schemeClr val="accent6"/>
            </a:solidFill>
            <a:prstDash val="solid"/>
          </a:ln>
        </c:spPr>
        <c:crossAx val="1630880800"/>
        <c:crosses val="min"/>
        <c:auto val="0"/>
        <c:lblAlgn val="ctr"/>
        <c:lblOffset val="100"/>
        <c:noMultiLvlLbl val="0"/>
      </c:catAx>
      <c:valAx>
        <c:axId val="1630880800"/>
        <c:scaling>
          <c:orientation val="minMax"/>
          <c:max val="109.0"/>
          <c:min val="101.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in"/>
        <c:minorTickMark val="none"/>
        <c:tickLblPos val="none"/>
        <c:spPr>
          <a:ln w="9525">
            <a:solidFill>
              <a:schemeClr val="accent6"/>
            </a:solidFill>
            <a:prstDash val="solid"/>
          </a:ln>
        </c:spPr>
        <c:txPr>
          <a:bodyPr wrap="none"/>
          <a:lstStyle/>
          <a:p>
            <a:pP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pPr>
            <a:endParaRPr lang="en-US"/>
          </a:p>
        </c:txPr>
        <c:crossAx val="1157122688"/>
        <c:crosses val="min"/>
        <c:crossBetween val="between"/>
        <c:majorUnit val="1.0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ax="32767" units="in"/>
          <inkml:channel name="Y" type="integer" max="32767" units="in"/>
          <inkml:channel name="F" type="integer" max="32767" units="dev"/>
        </inkml:traceFormat>
        <inkml:channelProperties>
          <inkml:channelProperty channel="X" name="resolution" value="3196.78027" units="1/in"/>
          <inkml:channelProperty channel="Y" name="resolution" value="5041.07666" units="1/in"/>
          <inkml:channelProperty channel="F" name="resolution" value="0" units="1/dev"/>
        </inkml:channelProperties>
      </inkml:inkSource>
      <inkml:timestamp xml:id="ts0" timeString="2018-07-10T04:17:03.504"/>
    </inkml:context>
    <inkml:brush xml:id="br0">
      <inkml:brushProperty name="width" value="0.06667" units="cm"/>
      <inkml:brushProperty name="height" value="0.06667" units="cm"/>
      <inkml:brushProperty name="color" value="#ED1C24"/>
      <inkml:brushProperty name="fitToCurve" value="1"/>
    </inkml:brush>
  </inkml:definitions>
  <inkml:trace contextRef="#ctx0" brushRef="#br0">0-2147483648 0,'0'0'0,"0"0"0,0 0 0,0 0 0,0 0 0,0 0 0,0 0 0,0 0 0,0 0 0,0 0 0,0 0 0,0 0 0,0 0 0,0 0 0,0 0 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2392363" y="373063"/>
            <a:ext cx="4518025" cy="254317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47932" y="3737112"/>
            <a:ext cx="7870666" cy="12484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8242460" y="6646084"/>
            <a:ext cx="732710" cy="1716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1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8975107" y="54598"/>
            <a:ext cx="65" cy="1092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7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92379" y="5159107"/>
            <a:ext cx="6233763" cy="246221"/>
          </a:xfrm>
        </p:spPr>
        <p:txBody>
          <a:bodyPr/>
          <a:lstStyle/>
          <a:p>
            <a:endParaRPr lang="de-CH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437206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92379" y="5159107"/>
            <a:ext cx="6233763" cy="246221"/>
          </a:xfrm>
        </p:spPr>
        <p:txBody>
          <a:bodyPr/>
          <a:lstStyle/>
          <a:p>
            <a:endParaRPr lang="de-CH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55375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2.vml"/><Relationship Id="rId2" Type="http://schemas.openxmlformats.org/officeDocument/2006/relationships/tags" Target="../tags/tag19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66.xml"/><Relationship Id="rId4" Type="http://schemas.openxmlformats.org/officeDocument/2006/relationships/slideMaster" Target="../slideMasters/slideMaster3.xml"/><Relationship Id="rId5" Type="http://schemas.openxmlformats.org/officeDocument/2006/relationships/oleObject" Target="../embeddings/oleObject13.bin"/><Relationship Id="rId6" Type="http://schemas.openxmlformats.org/officeDocument/2006/relationships/image" Target="../media/image11.emf"/><Relationship Id="rId1" Type="http://schemas.openxmlformats.org/officeDocument/2006/relationships/vmlDrawing" Target="../drawings/vmlDrawing13.vml"/><Relationship Id="rId2" Type="http://schemas.openxmlformats.org/officeDocument/2006/relationships/tags" Target="../tags/tag65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oleObject" Target="../embeddings/oleObject14.bin"/><Relationship Id="rId5" Type="http://schemas.openxmlformats.org/officeDocument/2006/relationships/image" Target="../media/image12.emf"/><Relationship Id="rId1" Type="http://schemas.openxmlformats.org/officeDocument/2006/relationships/vmlDrawing" Target="../drawings/vmlDrawing14.vml"/><Relationship Id="rId2" Type="http://schemas.openxmlformats.org/officeDocument/2006/relationships/tags" Target="../tags/tag67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4" Type="http://schemas.openxmlformats.org/officeDocument/2006/relationships/oleObject" Target="../embeddings/oleObject16.bin"/><Relationship Id="rId5" Type="http://schemas.openxmlformats.org/officeDocument/2006/relationships/image" Target="../media/image2.emf"/><Relationship Id="rId1" Type="http://schemas.openxmlformats.org/officeDocument/2006/relationships/vmlDrawing" Target="../drawings/vmlDrawing16.vml"/><Relationship Id="rId2" Type="http://schemas.openxmlformats.org/officeDocument/2006/relationships/tags" Target="../tags/tag85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4" Type="http://schemas.openxmlformats.org/officeDocument/2006/relationships/oleObject" Target="../embeddings/oleObject17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17.vml"/><Relationship Id="rId2" Type="http://schemas.openxmlformats.org/officeDocument/2006/relationships/tags" Target="../tags/tag86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4" Type="http://schemas.openxmlformats.org/officeDocument/2006/relationships/oleObject" Target="../embeddings/oleObject18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18.vml"/><Relationship Id="rId2" Type="http://schemas.openxmlformats.org/officeDocument/2006/relationships/tags" Target="../tags/tag87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4" Type="http://schemas.openxmlformats.org/officeDocument/2006/relationships/oleObject" Target="../embeddings/oleObject19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19.vml"/><Relationship Id="rId2" Type="http://schemas.openxmlformats.org/officeDocument/2006/relationships/tags" Target="../tags/tag88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107.xml"/><Relationship Id="rId4" Type="http://schemas.openxmlformats.org/officeDocument/2006/relationships/slideMaster" Target="../slideMasters/slideMaster5.xml"/><Relationship Id="rId5" Type="http://schemas.openxmlformats.org/officeDocument/2006/relationships/oleObject" Target="../embeddings/oleObject21.bin"/><Relationship Id="rId6" Type="http://schemas.openxmlformats.org/officeDocument/2006/relationships/image" Target="../media/image4.emf"/><Relationship Id="rId7" Type="http://schemas.openxmlformats.org/officeDocument/2006/relationships/image" Target="../media/image5.jpg"/><Relationship Id="rId1" Type="http://schemas.openxmlformats.org/officeDocument/2006/relationships/vmlDrawing" Target="../drawings/vmlDrawing21.vml"/><Relationship Id="rId2" Type="http://schemas.openxmlformats.org/officeDocument/2006/relationships/tags" Target="../tags/tag106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4" Type="http://schemas.openxmlformats.org/officeDocument/2006/relationships/oleObject" Target="../embeddings/oleObject22.bin"/><Relationship Id="rId5" Type="http://schemas.openxmlformats.org/officeDocument/2006/relationships/image" Target="../media/image2.emf"/><Relationship Id="rId1" Type="http://schemas.openxmlformats.org/officeDocument/2006/relationships/vmlDrawing" Target="../drawings/vmlDrawing22.vml"/><Relationship Id="rId2" Type="http://schemas.openxmlformats.org/officeDocument/2006/relationships/tags" Target="../tags/tag108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10.xml"/><Relationship Id="rId4" Type="http://schemas.openxmlformats.org/officeDocument/2006/relationships/slideMaster" Target="../slideMasters/slideMaster5.xml"/><Relationship Id="rId5" Type="http://schemas.openxmlformats.org/officeDocument/2006/relationships/oleObject" Target="../embeddings/oleObject23.bin"/><Relationship Id="rId6" Type="http://schemas.openxmlformats.org/officeDocument/2006/relationships/image" Target="../media/image4.emf"/><Relationship Id="rId1" Type="http://schemas.openxmlformats.org/officeDocument/2006/relationships/vmlDrawing" Target="../drawings/vmlDrawing23.vml"/><Relationship Id="rId2" Type="http://schemas.openxmlformats.org/officeDocument/2006/relationships/tags" Target="../tags/tag109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4" Type="http://schemas.openxmlformats.org/officeDocument/2006/relationships/oleObject" Target="../embeddings/oleObject25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7" Type="http://schemas.openxmlformats.org/officeDocument/2006/relationships/image" Target="../media/image13.png"/><Relationship Id="rId1" Type="http://schemas.openxmlformats.org/officeDocument/2006/relationships/vmlDrawing" Target="../drawings/vmlDrawing25.vml"/><Relationship Id="rId2" Type="http://schemas.openxmlformats.org/officeDocument/2006/relationships/tags" Target="../tags/tag128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3.bin"/><Relationship Id="rId5" Type="http://schemas.openxmlformats.org/officeDocument/2006/relationships/image" Target="../media/image4.emf"/><Relationship Id="rId1" Type="http://schemas.openxmlformats.org/officeDocument/2006/relationships/vmlDrawing" Target="../drawings/vmlDrawing3.vml"/><Relationship Id="rId2" Type="http://schemas.openxmlformats.org/officeDocument/2006/relationships/tags" Target="../tags/tag20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4" Type="http://schemas.openxmlformats.org/officeDocument/2006/relationships/oleObject" Target="../embeddings/oleObject26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26.vml"/><Relationship Id="rId2" Type="http://schemas.openxmlformats.org/officeDocument/2006/relationships/tags" Target="../tags/tag129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4" Type="http://schemas.openxmlformats.org/officeDocument/2006/relationships/oleObject" Target="../embeddings/oleObject27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27.vml"/><Relationship Id="rId2" Type="http://schemas.openxmlformats.org/officeDocument/2006/relationships/tags" Target="../tags/tag130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4" Type="http://schemas.openxmlformats.org/officeDocument/2006/relationships/oleObject" Target="../embeddings/oleObject28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28.vml"/><Relationship Id="rId2" Type="http://schemas.openxmlformats.org/officeDocument/2006/relationships/tags" Target="../tags/tag13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4" Type="http://schemas.openxmlformats.org/officeDocument/2006/relationships/oleObject" Target="../embeddings/oleObject30.bin"/><Relationship Id="rId5" Type="http://schemas.openxmlformats.org/officeDocument/2006/relationships/image" Target="../media/image2.emf"/><Relationship Id="rId6" Type="http://schemas.openxmlformats.org/officeDocument/2006/relationships/image" Target="../media/image7.jpg"/><Relationship Id="rId7" Type="http://schemas.openxmlformats.org/officeDocument/2006/relationships/image" Target="../media/image8.png"/><Relationship Id="rId1" Type="http://schemas.openxmlformats.org/officeDocument/2006/relationships/vmlDrawing" Target="../drawings/vmlDrawing30.vml"/><Relationship Id="rId2" Type="http://schemas.openxmlformats.org/officeDocument/2006/relationships/tags" Target="../tags/tag149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151.xml"/><Relationship Id="rId4" Type="http://schemas.openxmlformats.org/officeDocument/2006/relationships/slideMaster" Target="../slideMasters/slideMaster7.xml"/><Relationship Id="rId5" Type="http://schemas.openxmlformats.org/officeDocument/2006/relationships/oleObject" Target="../embeddings/oleObject31.bin"/><Relationship Id="rId6" Type="http://schemas.openxmlformats.org/officeDocument/2006/relationships/image" Target="../media/image4.emf"/><Relationship Id="rId7" Type="http://schemas.openxmlformats.org/officeDocument/2006/relationships/image" Target="../media/image9.png"/><Relationship Id="rId1" Type="http://schemas.openxmlformats.org/officeDocument/2006/relationships/vmlDrawing" Target="../drawings/vmlDrawing31.vml"/><Relationship Id="rId2" Type="http://schemas.openxmlformats.org/officeDocument/2006/relationships/tags" Target="../tags/tag150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153.xml"/><Relationship Id="rId4" Type="http://schemas.openxmlformats.org/officeDocument/2006/relationships/slideMaster" Target="../slideMasters/slideMaster7.xml"/><Relationship Id="rId5" Type="http://schemas.openxmlformats.org/officeDocument/2006/relationships/oleObject" Target="../embeddings/oleObject32.bin"/><Relationship Id="rId6" Type="http://schemas.openxmlformats.org/officeDocument/2006/relationships/image" Target="../media/image4.emf"/><Relationship Id="rId7" Type="http://schemas.openxmlformats.org/officeDocument/2006/relationships/image" Target="../media/image5.jpg"/><Relationship Id="rId1" Type="http://schemas.openxmlformats.org/officeDocument/2006/relationships/vmlDrawing" Target="../drawings/vmlDrawing32.vml"/><Relationship Id="rId2" Type="http://schemas.openxmlformats.org/officeDocument/2006/relationships/tags" Target="../tags/tag15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4" Type="http://schemas.openxmlformats.org/officeDocument/2006/relationships/oleObject" Target="../embeddings/oleObject34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34.vml"/><Relationship Id="rId2" Type="http://schemas.openxmlformats.org/officeDocument/2006/relationships/tags" Target="../tags/tag17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4" Type="http://schemas.openxmlformats.org/officeDocument/2006/relationships/oleObject" Target="../embeddings/oleObject35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35.vml"/><Relationship Id="rId2" Type="http://schemas.openxmlformats.org/officeDocument/2006/relationships/tags" Target="../tags/tag17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4" Type="http://schemas.openxmlformats.org/officeDocument/2006/relationships/oleObject" Target="../embeddings/oleObject36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36.vml"/><Relationship Id="rId2" Type="http://schemas.openxmlformats.org/officeDocument/2006/relationships/tags" Target="../tags/tag173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4" Type="http://schemas.openxmlformats.org/officeDocument/2006/relationships/oleObject" Target="../embeddings/oleObject37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37.vml"/><Relationship Id="rId2" Type="http://schemas.openxmlformats.org/officeDocument/2006/relationships/tags" Target="../tags/tag17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4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4.vml"/><Relationship Id="rId2" Type="http://schemas.openxmlformats.org/officeDocument/2006/relationships/tags" Target="../tags/tag2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4" Type="http://schemas.openxmlformats.org/officeDocument/2006/relationships/oleObject" Target="../embeddings/oleObject39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39.vml"/><Relationship Id="rId2" Type="http://schemas.openxmlformats.org/officeDocument/2006/relationships/tags" Target="../tags/tag19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4" Type="http://schemas.openxmlformats.org/officeDocument/2006/relationships/oleObject" Target="../embeddings/oleObject40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40.vml"/><Relationship Id="rId2" Type="http://schemas.openxmlformats.org/officeDocument/2006/relationships/tags" Target="../tags/tag19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4" Type="http://schemas.openxmlformats.org/officeDocument/2006/relationships/oleObject" Target="../embeddings/oleObject41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41.vml"/><Relationship Id="rId2" Type="http://schemas.openxmlformats.org/officeDocument/2006/relationships/tags" Target="../tags/tag194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4" Type="http://schemas.openxmlformats.org/officeDocument/2006/relationships/oleObject" Target="../embeddings/oleObject42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42.vml"/><Relationship Id="rId2" Type="http://schemas.openxmlformats.org/officeDocument/2006/relationships/tags" Target="../tags/tag195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4" Type="http://schemas.openxmlformats.org/officeDocument/2006/relationships/oleObject" Target="../embeddings/oleObject44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44.vml"/><Relationship Id="rId2" Type="http://schemas.openxmlformats.org/officeDocument/2006/relationships/tags" Target="../tags/tag213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4" Type="http://schemas.openxmlformats.org/officeDocument/2006/relationships/oleObject" Target="../embeddings/oleObject45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45.vml"/><Relationship Id="rId2" Type="http://schemas.openxmlformats.org/officeDocument/2006/relationships/tags" Target="../tags/tag214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4" Type="http://schemas.openxmlformats.org/officeDocument/2006/relationships/oleObject" Target="../embeddings/oleObject46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46.vml"/><Relationship Id="rId2" Type="http://schemas.openxmlformats.org/officeDocument/2006/relationships/tags" Target="../tags/tag215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4" Type="http://schemas.openxmlformats.org/officeDocument/2006/relationships/oleObject" Target="../embeddings/oleObject47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47.vml"/><Relationship Id="rId2" Type="http://schemas.openxmlformats.org/officeDocument/2006/relationships/tags" Target="../tags/tag216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4" Type="http://schemas.openxmlformats.org/officeDocument/2006/relationships/oleObject" Target="../embeddings/oleObject49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49.vml"/><Relationship Id="rId2" Type="http://schemas.openxmlformats.org/officeDocument/2006/relationships/tags" Target="../tags/tag234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4" Type="http://schemas.openxmlformats.org/officeDocument/2006/relationships/oleObject" Target="../embeddings/oleObject50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50.vml"/><Relationship Id="rId2" Type="http://schemas.openxmlformats.org/officeDocument/2006/relationships/tags" Target="../tags/tag235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5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5.vml"/><Relationship Id="rId2" Type="http://schemas.openxmlformats.org/officeDocument/2006/relationships/tags" Target="../tags/tag22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4" Type="http://schemas.openxmlformats.org/officeDocument/2006/relationships/oleObject" Target="../embeddings/oleObject51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51.vml"/><Relationship Id="rId2" Type="http://schemas.openxmlformats.org/officeDocument/2006/relationships/tags" Target="../tags/tag236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4" Type="http://schemas.openxmlformats.org/officeDocument/2006/relationships/oleObject" Target="../embeddings/oleObject52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52.vml"/><Relationship Id="rId2" Type="http://schemas.openxmlformats.org/officeDocument/2006/relationships/tags" Target="../tags/tag237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4" Type="http://schemas.openxmlformats.org/officeDocument/2006/relationships/oleObject" Target="../embeddings/oleObject54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54.vml"/><Relationship Id="rId2" Type="http://schemas.openxmlformats.org/officeDocument/2006/relationships/tags" Target="../tags/tag255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4" Type="http://schemas.openxmlformats.org/officeDocument/2006/relationships/oleObject" Target="../embeddings/oleObject55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55.vml"/><Relationship Id="rId2" Type="http://schemas.openxmlformats.org/officeDocument/2006/relationships/tags" Target="../tags/tag256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4" Type="http://schemas.openxmlformats.org/officeDocument/2006/relationships/oleObject" Target="../embeddings/oleObject56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56.vml"/><Relationship Id="rId2" Type="http://schemas.openxmlformats.org/officeDocument/2006/relationships/tags" Target="../tags/tag257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4" Type="http://schemas.openxmlformats.org/officeDocument/2006/relationships/oleObject" Target="../embeddings/oleObject57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57.vml"/><Relationship Id="rId2" Type="http://schemas.openxmlformats.org/officeDocument/2006/relationships/tags" Target="../tags/tag258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4" Type="http://schemas.openxmlformats.org/officeDocument/2006/relationships/oleObject" Target="../embeddings/oleObject59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59.vml"/><Relationship Id="rId2" Type="http://schemas.openxmlformats.org/officeDocument/2006/relationships/tags" Target="../tags/tag276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4" Type="http://schemas.openxmlformats.org/officeDocument/2006/relationships/oleObject" Target="../embeddings/oleObject60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60.vml"/><Relationship Id="rId2" Type="http://schemas.openxmlformats.org/officeDocument/2006/relationships/tags" Target="../tags/tag277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4" Type="http://schemas.openxmlformats.org/officeDocument/2006/relationships/oleObject" Target="../embeddings/oleObject61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61.vml"/><Relationship Id="rId2" Type="http://schemas.openxmlformats.org/officeDocument/2006/relationships/tags" Target="../tags/tag278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4" Type="http://schemas.openxmlformats.org/officeDocument/2006/relationships/oleObject" Target="../embeddings/oleObject62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62.vml"/><Relationship Id="rId2" Type="http://schemas.openxmlformats.org/officeDocument/2006/relationships/tags" Target="../tags/tag279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7.bin"/><Relationship Id="rId5" Type="http://schemas.openxmlformats.org/officeDocument/2006/relationships/image" Target="../media/image2.emf"/><Relationship Id="rId6" Type="http://schemas.openxmlformats.org/officeDocument/2006/relationships/image" Target="../media/image7.jpg"/><Relationship Id="rId7" Type="http://schemas.openxmlformats.org/officeDocument/2006/relationships/image" Target="../media/image8.png"/><Relationship Id="rId1" Type="http://schemas.openxmlformats.org/officeDocument/2006/relationships/vmlDrawing" Target="../drawings/vmlDrawing7.vml"/><Relationship Id="rId2" Type="http://schemas.openxmlformats.org/officeDocument/2006/relationships/tags" Target="../tags/tag40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4" Type="http://schemas.openxmlformats.org/officeDocument/2006/relationships/oleObject" Target="../embeddings/oleObject64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64.vml"/><Relationship Id="rId2" Type="http://schemas.openxmlformats.org/officeDocument/2006/relationships/tags" Target="../tags/tag297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4" Type="http://schemas.openxmlformats.org/officeDocument/2006/relationships/oleObject" Target="../embeddings/oleObject65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65.vml"/><Relationship Id="rId2" Type="http://schemas.openxmlformats.org/officeDocument/2006/relationships/tags" Target="../tags/tag298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4" Type="http://schemas.openxmlformats.org/officeDocument/2006/relationships/oleObject" Target="../embeddings/oleObject66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66.vml"/><Relationship Id="rId2" Type="http://schemas.openxmlformats.org/officeDocument/2006/relationships/tags" Target="../tags/tag299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4" Type="http://schemas.openxmlformats.org/officeDocument/2006/relationships/oleObject" Target="../embeddings/oleObject67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67.vml"/><Relationship Id="rId2" Type="http://schemas.openxmlformats.org/officeDocument/2006/relationships/tags" Target="../tags/tag300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4" Type="http://schemas.openxmlformats.org/officeDocument/2006/relationships/oleObject" Target="../embeddings/oleObject69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69.vml"/><Relationship Id="rId2" Type="http://schemas.openxmlformats.org/officeDocument/2006/relationships/tags" Target="../tags/tag318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4" Type="http://schemas.openxmlformats.org/officeDocument/2006/relationships/oleObject" Target="../embeddings/oleObject70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70.vml"/><Relationship Id="rId2" Type="http://schemas.openxmlformats.org/officeDocument/2006/relationships/tags" Target="../tags/tag319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4" Type="http://schemas.openxmlformats.org/officeDocument/2006/relationships/oleObject" Target="../embeddings/oleObject71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71.vml"/><Relationship Id="rId2" Type="http://schemas.openxmlformats.org/officeDocument/2006/relationships/tags" Target="../tags/tag320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4" Type="http://schemas.openxmlformats.org/officeDocument/2006/relationships/oleObject" Target="../embeddings/oleObject72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72.vml"/><Relationship Id="rId2" Type="http://schemas.openxmlformats.org/officeDocument/2006/relationships/tags" Target="../tags/tag321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4" Type="http://schemas.openxmlformats.org/officeDocument/2006/relationships/oleObject" Target="../embeddings/oleObject74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74.vml"/><Relationship Id="rId2" Type="http://schemas.openxmlformats.org/officeDocument/2006/relationships/tags" Target="../tags/tag339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4" Type="http://schemas.openxmlformats.org/officeDocument/2006/relationships/oleObject" Target="../embeddings/oleObject75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75.vml"/><Relationship Id="rId2" Type="http://schemas.openxmlformats.org/officeDocument/2006/relationships/tags" Target="../tags/tag340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4" Type="http://schemas.openxmlformats.org/officeDocument/2006/relationships/slideMaster" Target="../slideMasters/slideMaster2.xml"/><Relationship Id="rId5" Type="http://schemas.openxmlformats.org/officeDocument/2006/relationships/oleObject" Target="../embeddings/oleObject8.bin"/><Relationship Id="rId6" Type="http://schemas.openxmlformats.org/officeDocument/2006/relationships/image" Target="../media/image4.emf"/><Relationship Id="rId7" Type="http://schemas.openxmlformats.org/officeDocument/2006/relationships/image" Target="../media/image9.png"/><Relationship Id="rId1" Type="http://schemas.openxmlformats.org/officeDocument/2006/relationships/vmlDrawing" Target="../drawings/vmlDrawing8.vml"/><Relationship Id="rId2" Type="http://schemas.openxmlformats.org/officeDocument/2006/relationships/tags" Target="../tags/tag4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4" Type="http://schemas.openxmlformats.org/officeDocument/2006/relationships/oleObject" Target="../embeddings/oleObject76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76.vml"/><Relationship Id="rId2" Type="http://schemas.openxmlformats.org/officeDocument/2006/relationships/tags" Target="../tags/tag341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4" Type="http://schemas.openxmlformats.org/officeDocument/2006/relationships/oleObject" Target="../embeddings/oleObject77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77.vml"/><Relationship Id="rId2" Type="http://schemas.openxmlformats.org/officeDocument/2006/relationships/tags" Target="../tags/tag342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4" Type="http://schemas.openxmlformats.org/officeDocument/2006/relationships/oleObject" Target="../embeddings/oleObject79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79.vml"/><Relationship Id="rId2" Type="http://schemas.openxmlformats.org/officeDocument/2006/relationships/tags" Target="../tags/tag360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4" Type="http://schemas.openxmlformats.org/officeDocument/2006/relationships/oleObject" Target="../embeddings/oleObject80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80.vml"/><Relationship Id="rId2" Type="http://schemas.openxmlformats.org/officeDocument/2006/relationships/tags" Target="../tags/tag361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4" Type="http://schemas.openxmlformats.org/officeDocument/2006/relationships/oleObject" Target="../embeddings/oleObject81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81.vml"/><Relationship Id="rId2" Type="http://schemas.openxmlformats.org/officeDocument/2006/relationships/tags" Target="../tags/tag362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4" Type="http://schemas.openxmlformats.org/officeDocument/2006/relationships/oleObject" Target="../embeddings/oleObject82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82.vml"/><Relationship Id="rId2" Type="http://schemas.openxmlformats.org/officeDocument/2006/relationships/tags" Target="../tags/tag363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4" Type="http://schemas.openxmlformats.org/officeDocument/2006/relationships/oleObject" Target="../embeddings/oleObject84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84.vml"/><Relationship Id="rId2" Type="http://schemas.openxmlformats.org/officeDocument/2006/relationships/tags" Target="../tags/tag381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4" Type="http://schemas.openxmlformats.org/officeDocument/2006/relationships/oleObject" Target="../embeddings/oleObject85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85.vml"/><Relationship Id="rId2" Type="http://schemas.openxmlformats.org/officeDocument/2006/relationships/tags" Target="../tags/tag382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4" Type="http://schemas.openxmlformats.org/officeDocument/2006/relationships/oleObject" Target="../embeddings/oleObject86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86.vml"/><Relationship Id="rId2" Type="http://schemas.openxmlformats.org/officeDocument/2006/relationships/tags" Target="../tags/tag383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4" Type="http://schemas.openxmlformats.org/officeDocument/2006/relationships/oleObject" Target="../embeddings/oleObject88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88.vml"/><Relationship Id="rId2" Type="http://schemas.openxmlformats.org/officeDocument/2006/relationships/tags" Target="../tags/tag40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4" Type="http://schemas.openxmlformats.org/officeDocument/2006/relationships/slideMaster" Target="../slideMasters/slideMaster2.xml"/><Relationship Id="rId5" Type="http://schemas.openxmlformats.org/officeDocument/2006/relationships/oleObject" Target="../embeddings/oleObject9.bin"/><Relationship Id="rId6" Type="http://schemas.openxmlformats.org/officeDocument/2006/relationships/image" Target="../media/image4.emf"/><Relationship Id="rId7" Type="http://schemas.openxmlformats.org/officeDocument/2006/relationships/image" Target="../media/image5.jpg"/><Relationship Id="rId1" Type="http://schemas.openxmlformats.org/officeDocument/2006/relationships/vmlDrawing" Target="../drawings/vmlDrawing9.vml"/><Relationship Id="rId2" Type="http://schemas.openxmlformats.org/officeDocument/2006/relationships/tags" Target="../tags/tag43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4" Type="http://schemas.openxmlformats.org/officeDocument/2006/relationships/oleObject" Target="../embeddings/oleObject89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89.vml"/><Relationship Id="rId2" Type="http://schemas.openxmlformats.org/officeDocument/2006/relationships/tags" Target="../tags/tag402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4" Type="http://schemas.openxmlformats.org/officeDocument/2006/relationships/oleObject" Target="../embeddings/oleObject90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90.vml"/><Relationship Id="rId2" Type="http://schemas.openxmlformats.org/officeDocument/2006/relationships/tags" Target="../tags/tag403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4" Type="http://schemas.openxmlformats.org/officeDocument/2006/relationships/oleObject" Target="../embeddings/oleObject91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91.vml"/><Relationship Id="rId2" Type="http://schemas.openxmlformats.org/officeDocument/2006/relationships/tags" Target="../tags/tag404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4" Type="http://schemas.openxmlformats.org/officeDocument/2006/relationships/image" Target="../media/image10.jpg"/><Relationship Id="rId5" Type="http://schemas.openxmlformats.org/officeDocument/2006/relationships/oleObject" Target="../embeddings/oleObject94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93.vml"/><Relationship Id="rId2" Type="http://schemas.openxmlformats.org/officeDocument/2006/relationships/tags" Target="../tags/tag439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tags" Target="../tags/tag441.xml"/><Relationship Id="rId4" Type="http://schemas.openxmlformats.org/officeDocument/2006/relationships/tags" Target="../tags/tag442.xml"/><Relationship Id="rId5" Type="http://schemas.openxmlformats.org/officeDocument/2006/relationships/slideMaster" Target="../slideMasters/slideMaster20.xml"/><Relationship Id="rId6" Type="http://schemas.openxmlformats.org/officeDocument/2006/relationships/oleObject" Target="../embeddings/oleObject95.bin"/><Relationship Id="rId7" Type="http://schemas.openxmlformats.org/officeDocument/2006/relationships/image" Target="../media/image4.emf"/><Relationship Id="rId1" Type="http://schemas.openxmlformats.org/officeDocument/2006/relationships/vmlDrawing" Target="../drawings/vmlDrawing94.vml"/><Relationship Id="rId2" Type="http://schemas.openxmlformats.org/officeDocument/2006/relationships/tags" Target="../tags/tag440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tags" Target="../tags/tag444.xml"/><Relationship Id="rId4" Type="http://schemas.openxmlformats.org/officeDocument/2006/relationships/tags" Target="../tags/tag445.xml"/><Relationship Id="rId5" Type="http://schemas.openxmlformats.org/officeDocument/2006/relationships/slideMaster" Target="../slideMasters/slideMaster20.xml"/><Relationship Id="rId6" Type="http://schemas.openxmlformats.org/officeDocument/2006/relationships/oleObject" Target="../embeddings/oleObject96.bin"/><Relationship Id="rId7" Type="http://schemas.openxmlformats.org/officeDocument/2006/relationships/image" Target="../media/image4.emf"/><Relationship Id="rId8" Type="http://schemas.openxmlformats.org/officeDocument/2006/relationships/image" Target="../media/image5.jpg"/><Relationship Id="rId1" Type="http://schemas.openxmlformats.org/officeDocument/2006/relationships/vmlDrawing" Target="../drawings/vmlDrawing95.vml"/><Relationship Id="rId2" Type="http://schemas.openxmlformats.org/officeDocument/2006/relationships/tags" Target="../tags/tag443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4" Type="http://schemas.openxmlformats.org/officeDocument/2006/relationships/image" Target="../media/image14.jpg"/><Relationship Id="rId5" Type="http://schemas.openxmlformats.org/officeDocument/2006/relationships/oleObject" Target="../embeddings/oleObject98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97.vml"/><Relationship Id="rId2" Type="http://schemas.openxmlformats.org/officeDocument/2006/relationships/tags" Target="../tags/tag478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tags" Target="../tags/tag479.xml"/><Relationship Id="rId2" Type="http://schemas.openxmlformats.org/officeDocument/2006/relationships/slideMaster" Target="../slideMasters/slideMaster21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tags" Target="../tags/tag480.xml"/><Relationship Id="rId2" Type="http://schemas.openxmlformats.org/officeDocument/2006/relationships/slideMaster" Target="../slideMasters/slideMaster2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image" Target="../media/image10.jpg"/><Relationship Id="rId5" Type="http://schemas.openxmlformats.org/officeDocument/2006/relationships/oleObject" Target="../embeddings/oleObject11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11.vml"/><Relationship Id="rId2" Type="http://schemas.openxmlformats.org/officeDocument/2006/relationships/tags" Target="../tags/tag6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64.xml"/><Relationship Id="rId4" Type="http://schemas.openxmlformats.org/officeDocument/2006/relationships/slideMaster" Target="../slideMasters/slideMaster3.xml"/><Relationship Id="rId5" Type="http://schemas.openxmlformats.org/officeDocument/2006/relationships/oleObject" Target="../embeddings/oleObject12.bin"/><Relationship Id="rId6" Type="http://schemas.openxmlformats.org/officeDocument/2006/relationships/image" Target="../media/image11.emf"/><Relationship Id="rId1" Type="http://schemas.openxmlformats.org/officeDocument/2006/relationships/vmlDrawing" Target="../drawings/vmlDrawing12.vml"/><Relationship Id="rId2" Type="http://schemas.openxmlformats.org/officeDocument/2006/relationships/tags" Target="../tags/tag6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4893747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99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76722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11/23/2018 12:17 PM India Standard Time</a:t>
            </a: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>
                <a:solidFill>
                  <a:srgbClr val="FFFFFF"/>
                </a:solidFill>
              </a:rPr>
              <a:t>Printed 23/04/2018 21:25 Romance Standard Time</a:t>
            </a:r>
            <a:endParaRPr lang="en-US" sz="80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543F2BD7-B1BB-459F-B5BD-F3673250FE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5810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543F2BD7-B1BB-459F-B5BD-F3673250FE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 eaLnBrk="1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51802075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Inner Whit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6834" name="think-cell Slide" r:id="rId4" imgW="530" imgH="528" progId="TCLayout.ActiveDocument.1">
                  <p:embed/>
                </p:oleObj>
              </mc:Choice>
              <mc:Fallback>
                <p:oleObj name="think-cell Slide" r:id="rId4" imgW="530" imgH="52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5775508" y="6016520"/>
            <a:ext cx="2786675" cy="426584"/>
          </a:xfrm>
          <a:prstGeom prst="rect">
            <a:avLst/>
          </a:prstGeom>
        </p:spPr>
        <p:txBody>
          <a:bodyPr/>
          <a:lstStyle/>
          <a:p>
            <a:fld id="{F5FF2FB9-B594-4DEC-BD0E-93C68DC777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9419726"/>
      </p:ext>
    </p:extLst>
  </p:cSld>
  <p:clrMapOvr>
    <a:masterClrMapping/>
  </p:clrMapOvr>
  <p:transition spd="med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203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76722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11/23/2018 12:17 PM India Standard Time</a:t>
            </a: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>
                <a:solidFill>
                  <a:srgbClr val="FFFFFF"/>
                </a:solidFill>
              </a:rPr>
              <a:t>Printed 23/04/2018 21:25 Romance Standard Time</a:t>
            </a:r>
            <a:endParaRPr lang="en-US" sz="800">
              <a:solidFill>
                <a:srgbClr val="FFFFFF"/>
              </a:solidFill>
            </a:endParaRPr>
          </a:p>
        </p:txBody>
      </p:sp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20495917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964125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2965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92263635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3987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06083395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5011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28646102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1144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60780764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579814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09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193414630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02621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0124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99455424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634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76722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11/23/2018 12:17 PM India Standard Time</a:t>
            </a: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>
                <a:solidFill>
                  <a:srgbClr val="FFFFFF"/>
                </a:solidFill>
              </a:rPr>
              <a:t>Printed 23/04/2018 21:25 Romance Standard Time</a:t>
            </a:r>
            <a:endParaRPr lang="en-US" sz="80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xmlns="" id="{8F2420E4-0252-48E4-B525-8A2F6D6C6ED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13164" y="5218905"/>
            <a:ext cx="2569024" cy="11077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170061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680733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2829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 userDrawn="1">
          <p15:clr>
            <a:srgbClr val="F26B43"/>
          </p15:clr>
        </p15:guide>
        <p15:guide id="2" pos="99" userDrawn="1">
          <p15:clr>
            <a:srgbClr val="F26B43"/>
          </p15:clr>
        </p15:guide>
        <p15:guide id="3" orient="horz" pos="688" userDrawn="1">
          <p15:clr>
            <a:srgbClr val="F26B43"/>
          </p15:clr>
        </p15:guide>
        <p15:guide id="4" orient="horz" pos="3911" userDrawn="1">
          <p15:clr>
            <a:srgbClr val="F26B43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7278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89704362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302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04043030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326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83956973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452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xmlns="" id="{CA9A3303-D266-4F48-B4F1-412079AA676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" y="1589"/>
            <a:ext cx="11942925" cy="671988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 userDrawn="1"/>
        </p:nvSpPr>
        <p:spPr bwMode="white">
          <a:xfrm>
            <a:off x="2779713" y="-1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 userDrawn="1"/>
        </p:nvSpPr>
        <p:spPr bwMode="black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black">
          <a:xfrm>
            <a:off x="8105868" y="6377191"/>
            <a:ext cx="3739768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>
                <a:solidFill>
                  <a:schemeClr val="bg1"/>
                </a:solidFill>
                <a:latin typeface="+mn-lt"/>
              </a:rPr>
              <a:t>Last Modified 11/23/2018 12:17 PM India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black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800" baseline="0" noProof="0">
                <a:solidFill>
                  <a:schemeClr val="bg1"/>
                </a:solidFill>
                <a:latin typeface="+mn-lt"/>
              </a:rPr>
              <a:t>Printed 23/04/2018 21:25 Romance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 hasCustomPrompt="1"/>
          </p:nvPr>
        </p:nvSpPr>
        <p:spPr bwMode="gray">
          <a:xfrm>
            <a:off x="3024489" y="2160374"/>
            <a:ext cx="8309252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800" cap="none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sp>
        <p:nvSpPr>
          <p:cNvPr id="35" name="LogoImage"/>
          <p:cNvSpPr>
            <a:spLocks noEditPoints="1"/>
          </p:cNvSpPr>
          <p:nvPr userDrawn="1"/>
        </p:nvSpPr>
        <p:spPr bwMode="auto">
          <a:xfrm>
            <a:off x="3033376" y="187975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xmlns="" id="{F796DB1A-8947-4046-982A-47850E0A1680}"/>
              </a:ext>
            </a:extLst>
          </p:cNvPr>
          <p:cNvGrpSpPr/>
          <p:nvPr userDrawn="1"/>
        </p:nvGrpSpPr>
        <p:grpSpPr>
          <a:xfrm>
            <a:off x="2781424" y="3584143"/>
            <a:ext cx="8552317" cy="3028692"/>
            <a:chOff x="2781424" y="3584143"/>
            <a:chExt cx="8552317" cy="3028692"/>
          </a:xfrm>
        </p:grpSpPr>
        <p:sp>
          <p:nvSpPr>
            <p:cNvPr id="57" name="Document type" hidden="1"/>
            <p:cNvSpPr txBox="1">
              <a:spLocks noChangeArrowheads="1"/>
            </p:cNvSpPr>
            <p:nvPr userDrawn="1"/>
          </p:nvSpPr>
          <p:spPr bwMode="gray">
            <a:xfrm>
              <a:off x="3024489" y="3584143"/>
              <a:ext cx="8309252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0" hangingPunct="1">
                <a:defRPr/>
              </a:pPr>
              <a:r>
                <a:rPr lang="en-US" sz="1400" baseline="0" noProof="0" dirty="0">
                  <a:solidFill>
                    <a:schemeClr val="accent6"/>
                  </a:solidFill>
                  <a:latin typeface="+mn-lt"/>
                </a:rPr>
                <a:t>Document type | Date</a:t>
              </a:r>
            </a:p>
          </p:txBody>
        </p:sp>
        <p:sp>
          <p:nvSpPr>
            <p:cNvPr id="26" name="Disclaimer-English (United States)" hidden="1"/>
            <p:cNvSpPr>
              <a:spLocks noChangeArrowheads="1"/>
            </p:cNvSpPr>
            <p:nvPr userDrawn="1"/>
          </p:nvSpPr>
          <p:spPr bwMode="black">
            <a:xfrm>
              <a:off x="2781424" y="6254080"/>
              <a:ext cx="5120516" cy="3587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t" anchorCtr="0">
              <a:noAutofit/>
            </a:bodyPr>
            <a:lstStyle/>
            <a:p>
              <a:pPr defTabSz="1073204" eaLnBrk="0" hangingPunct="0"/>
              <a:r>
                <a:rPr lang="en-US" sz="800" baseline="0" dirty="0">
                  <a:solidFill>
                    <a:schemeClr val="bg1"/>
                  </a:solidFill>
                  <a:latin typeface="+mn-lt"/>
                </a:rPr>
                <a:t>CONFIDENTIAL AND PROPRIETARY</a:t>
              </a:r>
            </a:p>
            <a:p>
              <a:pPr defTabSz="1073204" eaLnBrk="0" hangingPunct="0"/>
              <a:r>
                <a:rPr lang="en-US" sz="800" baseline="0" dirty="0">
                  <a:solidFill>
                    <a:schemeClr val="bg1"/>
                  </a:solidFill>
                  <a:latin typeface="+mn-lt"/>
                </a:rPr>
                <a:t>Any use of this material without specific permission of McKinsey &amp; Company is strictly prohibited</a:t>
              </a:r>
            </a:p>
          </p:txBody>
        </p:sp>
      </p:grpSp>
      <p:pic>
        <p:nvPicPr>
          <p:cNvPr id="13" name="Picture 12">
            <a:extLst>
              <a:ext uri="{FF2B5EF4-FFF2-40B4-BE49-F238E27FC236}">
                <a16:creationId xmlns:a16="http://schemas.microsoft.com/office/drawing/2014/main" xmlns="" id="{04EC7BA1-6872-43A6-90C1-07740CEE787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74513" y="4789714"/>
            <a:ext cx="2854535" cy="1230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555295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5458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008499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6482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99588170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474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76722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11/23/2018 12:17 PM India Standard Time</a:t>
            </a: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>
                <a:solidFill>
                  <a:srgbClr val="FFFFFF"/>
                </a:solidFill>
              </a:rPr>
              <a:t>Printed 23/04/2018 21:25 Romance Standard Time</a:t>
            </a:r>
            <a:endParaRPr lang="en-US" sz="80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8220967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5678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88257613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6702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7385051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7726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57723069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567508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006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00055261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 userDrawn="1">
          <p15:clr>
            <a:srgbClr val="000000"/>
          </p15:clr>
        </p15:guide>
        <p15:guide id="2" orient="horz" pos="570" userDrawn="1">
          <p15:clr>
            <a:srgbClr val="000000"/>
          </p15:clr>
        </p15:guide>
        <p15:guide id="3" orient="horz" pos="3912" userDrawn="1">
          <p15:clr>
            <a:srgbClr val="000000"/>
          </p15:clr>
        </p15:guide>
        <p15:guide id="4" pos="96" userDrawn="1">
          <p15:clr>
            <a:srgbClr val="00000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88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76722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11/23/2018 12:17 PM India Standard Time</a:t>
            </a: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>
                <a:solidFill>
                  <a:srgbClr val="FFFFFF"/>
                </a:solidFill>
              </a:rPr>
              <a:t>Printed 23/04/2018 21:25 Romance Standard Time</a:t>
            </a:r>
            <a:endParaRPr lang="en-US" sz="80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09443079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504774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1825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05976343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2843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76108166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3867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16447958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598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76722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11/23/2018 12:17 PM India Standard Time</a:t>
            </a: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>
                <a:solidFill>
                  <a:srgbClr val="FFFFFF"/>
                </a:solidFill>
              </a:rPr>
              <a:t>Printed 23/04/2018 21:25 Romance Standard Time</a:t>
            </a:r>
            <a:endParaRPr lang="en-US" sz="80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75648208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762915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6963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81443436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7987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62017228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011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97287842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13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76722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11/23/2018 12:17 PM India Standard Time</a:t>
            </a: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>
                <a:solidFill>
                  <a:srgbClr val="FFFFFF"/>
                </a:solidFill>
              </a:rPr>
              <a:t>Printed 23/04/2018 21:25 Romance Standard Time</a:t>
            </a:r>
            <a:endParaRPr lang="en-US" sz="80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81838965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89611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107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94915922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74609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4801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03762134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130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21580580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154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88012078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27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76722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11/23/2018 12:17 PM India Standard Time</a:t>
            </a: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>
                <a:solidFill>
                  <a:srgbClr val="FFFFFF"/>
                </a:solidFill>
              </a:rPr>
              <a:t>Printed 23/04/2018 21:25 Romance Standard Time</a:t>
            </a:r>
            <a:endParaRPr lang="en-US" sz="80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92499353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31867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250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00984392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273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46650077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297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8932041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441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76722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11/23/2018 12:17 PM India Standard Time</a:t>
            </a: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>
                <a:solidFill>
                  <a:srgbClr val="FFFFFF"/>
                </a:solidFill>
              </a:rPr>
              <a:t>Printed 23/04/2018 21:25 Romance Standard Time</a:t>
            </a:r>
            <a:endParaRPr lang="en-US" sz="80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42554555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5390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42873070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6414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99892673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7438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7688692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363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xmlns="" id="{CA9A3303-D266-4F48-B4F1-412079AA676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" y="1589"/>
            <a:ext cx="11942925" cy="671988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 userDrawn="1"/>
        </p:nvSpPr>
        <p:spPr bwMode="white">
          <a:xfrm>
            <a:off x="2779713" y="-1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 userDrawn="1"/>
        </p:nvSpPr>
        <p:spPr bwMode="black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black">
          <a:xfrm>
            <a:off x="8105868" y="6377191"/>
            <a:ext cx="3739768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>
                <a:solidFill>
                  <a:schemeClr val="bg1"/>
                </a:solidFill>
                <a:latin typeface="+mn-lt"/>
              </a:rPr>
              <a:t>Last Modified 11/23/2018 12:17 PM India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black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800" baseline="0" noProof="0">
                <a:solidFill>
                  <a:schemeClr val="bg1"/>
                </a:solidFill>
                <a:latin typeface="+mn-lt"/>
              </a:rPr>
              <a:t>Printed 23/04/2018 21:25 Romance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 hasCustomPrompt="1"/>
          </p:nvPr>
        </p:nvSpPr>
        <p:spPr bwMode="gray">
          <a:xfrm>
            <a:off x="3024489" y="2160374"/>
            <a:ext cx="8309252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800" cap="none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sp>
        <p:nvSpPr>
          <p:cNvPr id="35" name="LogoImage"/>
          <p:cNvSpPr>
            <a:spLocks noEditPoints="1"/>
          </p:cNvSpPr>
          <p:nvPr userDrawn="1"/>
        </p:nvSpPr>
        <p:spPr bwMode="auto">
          <a:xfrm>
            <a:off x="3033376" y="187975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xmlns="" id="{F796DB1A-8947-4046-982A-47850E0A1680}"/>
              </a:ext>
            </a:extLst>
          </p:cNvPr>
          <p:cNvGrpSpPr/>
          <p:nvPr userDrawn="1"/>
        </p:nvGrpSpPr>
        <p:grpSpPr>
          <a:xfrm>
            <a:off x="2781424" y="3584143"/>
            <a:ext cx="8552317" cy="3028692"/>
            <a:chOff x="2781424" y="3584143"/>
            <a:chExt cx="8552317" cy="3028692"/>
          </a:xfrm>
        </p:grpSpPr>
        <p:sp>
          <p:nvSpPr>
            <p:cNvPr id="57" name="Document type" hidden="1"/>
            <p:cNvSpPr txBox="1">
              <a:spLocks noChangeArrowheads="1"/>
            </p:cNvSpPr>
            <p:nvPr userDrawn="1"/>
          </p:nvSpPr>
          <p:spPr bwMode="gray">
            <a:xfrm>
              <a:off x="3024489" y="3584143"/>
              <a:ext cx="8309252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0" hangingPunct="1">
                <a:defRPr/>
              </a:pPr>
              <a:r>
                <a:rPr lang="en-US" sz="1400" baseline="0" noProof="0" dirty="0">
                  <a:solidFill>
                    <a:schemeClr val="accent6"/>
                  </a:solidFill>
                  <a:latin typeface="+mn-lt"/>
                </a:rPr>
                <a:t>Document type | Date</a:t>
              </a:r>
            </a:p>
          </p:txBody>
        </p:sp>
        <p:sp>
          <p:nvSpPr>
            <p:cNvPr id="26" name="Disclaimer-English (United States)" hidden="1"/>
            <p:cNvSpPr>
              <a:spLocks noChangeArrowheads="1"/>
            </p:cNvSpPr>
            <p:nvPr userDrawn="1"/>
          </p:nvSpPr>
          <p:spPr bwMode="black">
            <a:xfrm>
              <a:off x="2781424" y="6254080"/>
              <a:ext cx="5120516" cy="3587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t" anchorCtr="0">
              <a:noAutofit/>
            </a:bodyPr>
            <a:lstStyle/>
            <a:p>
              <a:pPr defTabSz="1073204" eaLnBrk="0" hangingPunct="0"/>
              <a:r>
                <a:rPr lang="en-US" sz="800" baseline="0" dirty="0">
                  <a:solidFill>
                    <a:schemeClr val="bg1"/>
                  </a:solidFill>
                  <a:latin typeface="+mn-lt"/>
                </a:rPr>
                <a:t>CONFIDENTIAL AND PROPRIETARY</a:t>
              </a:r>
            </a:p>
            <a:p>
              <a:pPr defTabSz="1073204" eaLnBrk="0" hangingPunct="0"/>
              <a:r>
                <a:rPr lang="en-US" sz="800" baseline="0" dirty="0">
                  <a:solidFill>
                    <a:schemeClr val="bg1"/>
                  </a:solidFill>
                  <a:latin typeface="+mn-lt"/>
                </a:rPr>
                <a:t>Any use of this material without specific permission of McKinsey &amp; Company is strictly prohibited</a:t>
              </a:r>
            </a:p>
          </p:txBody>
        </p:sp>
      </p:grpSp>
      <p:pic>
        <p:nvPicPr>
          <p:cNvPr id="13" name="Picture 12">
            <a:extLst>
              <a:ext uri="{FF2B5EF4-FFF2-40B4-BE49-F238E27FC236}">
                <a16:creationId xmlns:a16="http://schemas.microsoft.com/office/drawing/2014/main" xmlns="" id="{04EC7BA1-6872-43A6-90C1-07740CEE787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74513" y="4789714"/>
            <a:ext cx="2854535" cy="1230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513323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462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76722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11/23/2018 12:17 PM India Standard Time</a:t>
            </a: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>
                <a:solidFill>
                  <a:srgbClr val="FFFFFF"/>
                </a:solidFill>
              </a:rPr>
              <a:t>Printed 23/04/2018 21:25 Romance Standard Time</a:t>
            </a:r>
            <a:endParaRPr lang="en-US" sz="80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04577549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5609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09351935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6633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10330113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7657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72267072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281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76722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11/23/2018 12:17 PM India Standard Time</a:t>
            </a: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>
                <a:solidFill>
                  <a:srgbClr val="FFFFFF"/>
                </a:solidFill>
              </a:rPr>
              <a:t>Printed 23/04/2018 21:25 Romance Standard Time</a:t>
            </a:r>
            <a:endParaRPr lang="en-US" sz="80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99122657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3799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90277615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4823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81400016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5847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82469583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707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76722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11/23/2018 12:17 PM India Standard Time</a:t>
            </a: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>
                <a:solidFill>
                  <a:srgbClr val="FFFFFF"/>
                </a:solidFill>
              </a:rPr>
              <a:t>Printed 23/04/2018 21:25 Romance Standard Time</a:t>
            </a:r>
            <a:endParaRPr lang="en-US" sz="80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19659180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8070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26192760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244596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4557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561296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9094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53505134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118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571919829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19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76722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11/23/2018 12:17 PM India Standard Time</a:t>
            </a: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>
                <a:solidFill>
                  <a:srgbClr val="FFFFFF"/>
                </a:solidFill>
              </a:rPr>
              <a:t>Printed 23/04/2018 21:25 Romance Standard Time</a:t>
            </a:r>
            <a:endParaRPr lang="en-US" sz="80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65532303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3190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93890515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4214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08627705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5238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08141495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856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76722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11/23/2018 12:17 PM India Standard Time</a:t>
            </a: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>
                <a:solidFill>
                  <a:srgbClr val="FFFFFF"/>
                </a:solidFill>
              </a:rPr>
              <a:t>Printed 23/04/2018 21:25 Romance Standard Time</a:t>
            </a:r>
            <a:endParaRPr lang="en-US" sz="80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243969023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903756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9563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xmlns="" id="{8F4190F4-4F1F-4413-A569-3F1E9E8CC46F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395711" y="6509464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38492630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0585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59354408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875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76722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11/23/2018 12:17 PM India Standard Time</a:t>
            </a: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>
                <a:solidFill>
                  <a:srgbClr val="FFFFFF"/>
                </a:solidFill>
              </a:rPr>
              <a:t>Printed 23/04/2018 21:25 Romance Standard Time</a:t>
            </a:r>
            <a:endParaRPr lang="en-US" sz="80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78443517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5581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6267609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9766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05969363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0790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26626923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814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088987672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9"/>
            <a:ext cx="11949204" cy="672142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/>
        </p:nvSpPr>
        <p:spPr bwMode="white">
          <a:xfrm>
            <a:off x="2779713" y="-1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09781828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856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/>
        </p:nvSpPr>
        <p:spPr bwMode="black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black">
          <a:xfrm>
            <a:off x="8105868" y="6377191"/>
            <a:ext cx="3739768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>
                <a:solidFill>
                  <a:schemeClr val="bg1"/>
                </a:solidFill>
                <a:latin typeface="+mn-lt"/>
              </a:rPr>
              <a:t>Last Modified 2/6/2019 1:33 PM Eastern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black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 dirty="0">
                <a:solidFill>
                  <a:schemeClr val="bg1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24489" y="3119079"/>
            <a:ext cx="8309252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5" name="LogoImage"/>
          <p:cNvSpPr>
            <a:spLocks noEditPoints="1"/>
          </p:cNvSpPr>
          <p:nvPr/>
        </p:nvSpPr>
        <p:spPr bwMode="auto">
          <a:xfrm>
            <a:off x="3033376" y="187975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/>
  </p:cSld>
  <p:clrMapOvr>
    <a:masterClrMapping/>
  </p:clrMapOvr>
  <p:hf hdr="0" ftr="0" dt="0"/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6" name="Isosceles Triangle 16">
            <a:extLst>
              <a:ext uri="{FF2B5EF4-FFF2-40B4-BE49-F238E27FC236}">
                <a16:creationId xmlns:a16="http://schemas.microsoft.com/office/drawing/2014/main" xmlns="" id="{E2C70A52-20E0-44EE-80F1-358CF5856D90}"/>
              </a:ext>
            </a:extLst>
          </p:cNvPr>
          <p:cNvSpPr/>
          <p:nvPr/>
        </p:nvSpPr>
        <p:spPr>
          <a:xfrm flipV="1">
            <a:off x="10242430" y="-13134"/>
            <a:ext cx="1701610" cy="1240116"/>
          </a:xfrm>
          <a:prstGeom prst="triangle">
            <a:avLst>
              <a:gd name="adj" fmla="val 100000"/>
            </a:avLst>
          </a:prstGeom>
          <a:solidFill>
            <a:schemeClr val="tx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467100" y="-495300"/>
            <a:ext cx="18473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1202621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0609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12" name="SlideLogoText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13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2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9585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8" name="Slide Number"/>
          <p:cNvSpPr txBox="1">
            <a:spLocks/>
          </p:cNvSpPr>
          <p:nvPr userDrawn="1"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1" name="SlideLogoText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12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49"/>
            <a:ext cx="11949113" cy="6721375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265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TitleRectangle"/>
          <p:cNvSpPr>
            <a:spLocks noChangeAspect="1"/>
          </p:cNvSpPr>
          <p:nvPr/>
        </p:nvSpPr>
        <p:spPr bwMode="white">
          <a:xfrm>
            <a:off x="2779713" y="3392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259050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dirty="0">
              <a:solidFill>
                <a:srgbClr val="C5C5C5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/>
        </p:nvSpPr>
        <p:spPr bwMode="gray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dirty="0">
                <a:solidFill>
                  <a:srgbClr val="808080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gray">
          <a:xfrm>
            <a:off x="8105867" y="6377191"/>
            <a:ext cx="3843246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>
                <a:solidFill>
                  <a:srgbClr val="808080"/>
                </a:solidFill>
                <a:latin typeface="+mn-lt"/>
              </a:rPr>
              <a:t>Last Modified 2/6/2019 1:33 PM Eastern Standard Time</a:t>
            </a:r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gray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dirty="0">
                <a:solidFill>
                  <a:srgbClr val="808080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24489" y="3119079"/>
            <a:ext cx="8309252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1" name="LogoImage"/>
          <p:cNvSpPr>
            <a:spLocks noEditPoints="1"/>
          </p:cNvSpPr>
          <p:nvPr/>
        </p:nvSpPr>
        <p:spPr bwMode="auto">
          <a:xfrm>
            <a:off x="3035808" y="192024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9" name="Disclaimer-template_Blue" hidden="1"/>
          <p:cNvSpPr>
            <a:spLocks noChangeArrowheads="1"/>
          </p:cNvSpPr>
          <p:nvPr/>
        </p:nvSpPr>
        <p:spPr bwMode="black">
          <a:xfrm>
            <a:off x="2781424" y="6254080"/>
            <a:ext cx="5120516" cy="3514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1</a:t>
            </a:r>
          </a:p>
          <a:p>
            <a:pPr defTabSz="1073204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2</a:t>
            </a:r>
          </a:p>
        </p:txBody>
      </p:sp>
    </p:spTree>
    <p:extLst/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238704" y="50801"/>
            <a:ext cx="14111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solidFill>
                  <a:schemeClr val="accent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238704" y="50801"/>
            <a:ext cx="14111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9"/>
            <a:ext cx="11949204" cy="672142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 userDrawn="1"/>
        </p:nvSpPr>
        <p:spPr bwMode="white">
          <a:xfrm>
            <a:off x="2779713" y="-1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baseline="0" dirty="0">
              <a:solidFill>
                <a:schemeClr val="tx1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386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black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black">
          <a:xfrm>
            <a:off x="8105868" y="6377191"/>
            <a:ext cx="3739768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>
                <a:solidFill>
                  <a:schemeClr val="bg1"/>
                </a:solidFill>
                <a:latin typeface="+mn-lt"/>
              </a:rPr>
              <a:t>Last Modified 11/23/2018 12:17 PM India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black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800" baseline="0" noProof="0">
                <a:solidFill>
                  <a:schemeClr val="bg1"/>
                </a:solidFill>
                <a:latin typeface="+mn-lt"/>
              </a:rPr>
              <a:t>Printed 23/04/2018 21:25 Romance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3024489" y="3119079"/>
            <a:ext cx="8309252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sp>
        <p:nvSpPr>
          <p:cNvPr id="35" name="LogoImage"/>
          <p:cNvSpPr>
            <a:spLocks noEditPoints="1"/>
          </p:cNvSpPr>
          <p:nvPr userDrawn="1"/>
        </p:nvSpPr>
        <p:spPr bwMode="auto">
          <a:xfrm>
            <a:off x="3033376" y="187975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eaLnBrk="1"/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xmlns="" id="{6E353F0F-0D7E-485D-8B3C-F2F28EFDDA40}"/>
              </a:ext>
            </a:extLst>
          </p:cNvPr>
          <p:cNvGrpSpPr/>
          <p:nvPr userDrawn="1"/>
        </p:nvGrpSpPr>
        <p:grpSpPr>
          <a:xfrm>
            <a:off x="2781424" y="3584143"/>
            <a:ext cx="8552317" cy="3028692"/>
            <a:chOff x="2781424" y="3584143"/>
            <a:chExt cx="8552317" cy="3028692"/>
          </a:xfrm>
        </p:grpSpPr>
        <p:sp>
          <p:nvSpPr>
            <p:cNvPr id="57" name="Document type" hidden="1"/>
            <p:cNvSpPr txBox="1">
              <a:spLocks noChangeArrowheads="1"/>
            </p:cNvSpPr>
            <p:nvPr userDrawn="1"/>
          </p:nvSpPr>
          <p:spPr bwMode="gray">
            <a:xfrm>
              <a:off x="3024489" y="3584143"/>
              <a:ext cx="8309252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0" hangingPunct="1">
                <a:defRPr/>
              </a:pPr>
              <a:r>
                <a:rPr lang="en-US" sz="1400" baseline="0" noProof="0" dirty="0">
                  <a:solidFill>
                    <a:schemeClr val="accent6"/>
                  </a:solidFill>
                  <a:latin typeface="+mn-lt"/>
                </a:rPr>
                <a:t>Document type | Date</a:t>
              </a:r>
            </a:p>
          </p:txBody>
        </p:sp>
        <p:sp>
          <p:nvSpPr>
            <p:cNvPr id="26" name="Disclaimer-English (United States)" hidden="1"/>
            <p:cNvSpPr>
              <a:spLocks noChangeArrowheads="1"/>
            </p:cNvSpPr>
            <p:nvPr userDrawn="1"/>
          </p:nvSpPr>
          <p:spPr bwMode="black">
            <a:xfrm>
              <a:off x="2781424" y="6254080"/>
              <a:ext cx="5120516" cy="3587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t" anchorCtr="0">
              <a:noAutofit/>
            </a:bodyPr>
            <a:lstStyle/>
            <a:p>
              <a:pPr defTabSz="1073204" eaLnBrk="0" hangingPunct="0"/>
              <a:r>
                <a:rPr lang="en-US" sz="800" baseline="0" dirty="0">
                  <a:solidFill>
                    <a:schemeClr val="bg1"/>
                  </a:solidFill>
                  <a:latin typeface="+mn-lt"/>
                </a:rPr>
                <a:t>CONFIDENTIAL AND PROPRIETARY</a:t>
              </a:r>
            </a:p>
            <a:p>
              <a:pPr defTabSz="1073204" eaLnBrk="0" hangingPunct="0"/>
              <a:r>
                <a:rPr lang="en-US" sz="800" baseline="0" dirty="0">
                  <a:solidFill>
                    <a:schemeClr val="bg1"/>
                  </a:solidFill>
                  <a:latin typeface="+mn-lt"/>
                </a:rPr>
                <a:t>Any use of this material without specific permission of McKinsey &amp; Company is strictly prohibite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1973915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DB14A227-CD36-494A-A575-B6306C0482C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4786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DB14A227-CD36-494A-A575-B6306C0482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 eaLnBrk="1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38488899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tags" Target="../tags/tag4.xml"/><Relationship Id="rId20" Type="http://schemas.openxmlformats.org/officeDocument/2006/relationships/tags" Target="../tags/tag15.xml"/><Relationship Id="rId21" Type="http://schemas.openxmlformats.org/officeDocument/2006/relationships/tags" Target="../tags/tag16.xml"/><Relationship Id="rId22" Type="http://schemas.openxmlformats.org/officeDocument/2006/relationships/tags" Target="../tags/tag17.xml"/><Relationship Id="rId23" Type="http://schemas.openxmlformats.org/officeDocument/2006/relationships/tags" Target="../tags/tag18.xml"/><Relationship Id="rId24" Type="http://schemas.openxmlformats.org/officeDocument/2006/relationships/oleObject" Target="../embeddings/oleObject1.bin"/><Relationship Id="rId25" Type="http://schemas.openxmlformats.org/officeDocument/2006/relationships/image" Target="../media/image1.emf"/><Relationship Id="rId10" Type="http://schemas.openxmlformats.org/officeDocument/2006/relationships/tags" Target="../tags/tag5.xml"/><Relationship Id="rId11" Type="http://schemas.openxmlformats.org/officeDocument/2006/relationships/tags" Target="../tags/tag6.xml"/><Relationship Id="rId12" Type="http://schemas.openxmlformats.org/officeDocument/2006/relationships/tags" Target="../tags/tag7.xml"/><Relationship Id="rId13" Type="http://schemas.openxmlformats.org/officeDocument/2006/relationships/tags" Target="../tags/tag8.xml"/><Relationship Id="rId14" Type="http://schemas.openxmlformats.org/officeDocument/2006/relationships/tags" Target="../tags/tag9.xml"/><Relationship Id="rId15" Type="http://schemas.openxmlformats.org/officeDocument/2006/relationships/tags" Target="../tags/tag10.xml"/><Relationship Id="rId16" Type="http://schemas.openxmlformats.org/officeDocument/2006/relationships/tags" Target="../tags/tag11.xml"/><Relationship Id="rId17" Type="http://schemas.openxmlformats.org/officeDocument/2006/relationships/tags" Target="../tags/tag12.xml"/><Relationship Id="rId18" Type="http://schemas.openxmlformats.org/officeDocument/2006/relationships/tags" Target="../tags/tag13.xml"/><Relationship Id="rId19" Type="http://schemas.openxmlformats.org/officeDocument/2006/relationships/tags" Target="../tags/tag14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theme" Target="../theme/theme1.xml"/><Relationship Id="rId6" Type="http://schemas.openxmlformats.org/officeDocument/2006/relationships/vmlDrawing" Target="../drawings/vmlDrawing1.vml"/><Relationship Id="rId7" Type="http://schemas.openxmlformats.org/officeDocument/2006/relationships/tags" Target="../tags/tag2.xml"/><Relationship Id="rId8" Type="http://schemas.openxmlformats.org/officeDocument/2006/relationships/tags" Target="../tags/tag3.xml"/></Relationships>
</file>

<file path=ppt/slideMasters/_rels/slideMaster10.xml.rels><?xml version="1.0" encoding="UTF-8" standalone="yes"?>
<Relationships xmlns="http://schemas.openxmlformats.org/package/2006/relationships"><Relationship Id="rId9" Type="http://schemas.openxmlformats.org/officeDocument/2006/relationships/tags" Target="../tags/tag198.xml"/><Relationship Id="rId20" Type="http://schemas.openxmlformats.org/officeDocument/2006/relationships/tags" Target="../tags/tag209.xml"/><Relationship Id="rId21" Type="http://schemas.openxmlformats.org/officeDocument/2006/relationships/tags" Target="../tags/tag210.xml"/><Relationship Id="rId22" Type="http://schemas.openxmlformats.org/officeDocument/2006/relationships/tags" Target="../tags/tag211.xml"/><Relationship Id="rId23" Type="http://schemas.openxmlformats.org/officeDocument/2006/relationships/tags" Target="../tags/tag212.xml"/><Relationship Id="rId24" Type="http://schemas.openxmlformats.org/officeDocument/2006/relationships/oleObject" Target="../embeddings/oleObject43.bin"/><Relationship Id="rId25" Type="http://schemas.openxmlformats.org/officeDocument/2006/relationships/image" Target="../media/image1.emf"/><Relationship Id="rId10" Type="http://schemas.openxmlformats.org/officeDocument/2006/relationships/tags" Target="../tags/tag199.xml"/><Relationship Id="rId11" Type="http://schemas.openxmlformats.org/officeDocument/2006/relationships/tags" Target="../tags/tag200.xml"/><Relationship Id="rId12" Type="http://schemas.openxmlformats.org/officeDocument/2006/relationships/tags" Target="../tags/tag201.xml"/><Relationship Id="rId13" Type="http://schemas.openxmlformats.org/officeDocument/2006/relationships/tags" Target="../tags/tag202.xml"/><Relationship Id="rId14" Type="http://schemas.openxmlformats.org/officeDocument/2006/relationships/tags" Target="../tags/tag203.xml"/><Relationship Id="rId15" Type="http://schemas.openxmlformats.org/officeDocument/2006/relationships/tags" Target="../tags/tag204.xml"/><Relationship Id="rId16" Type="http://schemas.openxmlformats.org/officeDocument/2006/relationships/tags" Target="../tags/tag205.xml"/><Relationship Id="rId17" Type="http://schemas.openxmlformats.org/officeDocument/2006/relationships/tags" Target="../tags/tag206.xml"/><Relationship Id="rId18" Type="http://schemas.openxmlformats.org/officeDocument/2006/relationships/tags" Target="../tags/tag207.xml"/><Relationship Id="rId19" Type="http://schemas.openxmlformats.org/officeDocument/2006/relationships/tags" Target="../tags/tag208.xml"/><Relationship Id="rId1" Type="http://schemas.openxmlformats.org/officeDocument/2006/relationships/slideLayout" Target="../slideLayouts/slideLayout34.xml"/><Relationship Id="rId2" Type="http://schemas.openxmlformats.org/officeDocument/2006/relationships/slideLayout" Target="../slideLayouts/slideLayout35.xml"/><Relationship Id="rId3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7.xml"/><Relationship Id="rId5" Type="http://schemas.openxmlformats.org/officeDocument/2006/relationships/theme" Target="../theme/theme10.xml"/><Relationship Id="rId6" Type="http://schemas.openxmlformats.org/officeDocument/2006/relationships/vmlDrawing" Target="../drawings/vmlDrawing43.vml"/><Relationship Id="rId7" Type="http://schemas.openxmlformats.org/officeDocument/2006/relationships/tags" Target="../tags/tag196.xml"/><Relationship Id="rId8" Type="http://schemas.openxmlformats.org/officeDocument/2006/relationships/tags" Target="../tags/tag197.xml"/></Relationships>
</file>

<file path=ppt/slideMasters/_rels/slideMaster11.xml.rels><?xml version="1.0" encoding="UTF-8" standalone="yes"?>
<Relationships xmlns="http://schemas.openxmlformats.org/package/2006/relationships"><Relationship Id="rId9" Type="http://schemas.openxmlformats.org/officeDocument/2006/relationships/tags" Target="../tags/tag219.xml"/><Relationship Id="rId20" Type="http://schemas.openxmlformats.org/officeDocument/2006/relationships/tags" Target="../tags/tag230.xml"/><Relationship Id="rId21" Type="http://schemas.openxmlformats.org/officeDocument/2006/relationships/tags" Target="../tags/tag231.xml"/><Relationship Id="rId22" Type="http://schemas.openxmlformats.org/officeDocument/2006/relationships/tags" Target="../tags/tag232.xml"/><Relationship Id="rId23" Type="http://schemas.openxmlformats.org/officeDocument/2006/relationships/tags" Target="../tags/tag233.xml"/><Relationship Id="rId24" Type="http://schemas.openxmlformats.org/officeDocument/2006/relationships/oleObject" Target="../embeddings/oleObject48.bin"/><Relationship Id="rId25" Type="http://schemas.openxmlformats.org/officeDocument/2006/relationships/image" Target="../media/image1.emf"/><Relationship Id="rId10" Type="http://schemas.openxmlformats.org/officeDocument/2006/relationships/tags" Target="../tags/tag220.xml"/><Relationship Id="rId11" Type="http://schemas.openxmlformats.org/officeDocument/2006/relationships/tags" Target="../tags/tag221.xml"/><Relationship Id="rId12" Type="http://schemas.openxmlformats.org/officeDocument/2006/relationships/tags" Target="../tags/tag222.xml"/><Relationship Id="rId13" Type="http://schemas.openxmlformats.org/officeDocument/2006/relationships/tags" Target="../tags/tag223.xml"/><Relationship Id="rId14" Type="http://schemas.openxmlformats.org/officeDocument/2006/relationships/tags" Target="../tags/tag224.xml"/><Relationship Id="rId15" Type="http://schemas.openxmlformats.org/officeDocument/2006/relationships/tags" Target="../tags/tag225.xml"/><Relationship Id="rId16" Type="http://schemas.openxmlformats.org/officeDocument/2006/relationships/tags" Target="../tags/tag226.xml"/><Relationship Id="rId17" Type="http://schemas.openxmlformats.org/officeDocument/2006/relationships/tags" Target="../tags/tag227.xml"/><Relationship Id="rId18" Type="http://schemas.openxmlformats.org/officeDocument/2006/relationships/tags" Target="../tags/tag228.xml"/><Relationship Id="rId19" Type="http://schemas.openxmlformats.org/officeDocument/2006/relationships/tags" Target="../tags/tag229.xml"/><Relationship Id="rId1" Type="http://schemas.openxmlformats.org/officeDocument/2006/relationships/slideLayout" Target="../slideLayouts/slideLayout38.xml"/><Relationship Id="rId2" Type="http://schemas.openxmlformats.org/officeDocument/2006/relationships/slideLayout" Target="../slideLayouts/slideLayout39.xml"/><Relationship Id="rId3" Type="http://schemas.openxmlformats.org/officeDocument/2006/relationships/slideLayout" Target="../slideLayouts/slideLayout40.xml"/><Relationship Id="rId4" Type="http://schemas.openxmlformats.org/officeDocument/2006/relationships/slideLayout" Target="../slideLayouts/slideLayout41.xml"/><Relationship Id="rId5" Type="http://schemas.openxmlformats.org/officeDocument/2006/relationships/theme" Target="../theme/theme11.xml"/><Relationship Id="rId6" Type="http://schemas.openxmlformats.org/officeDocument/2006/relationships/vmlDrawing" Target="../drawings/vmlDrawing48.vml"/><Relationship Id="rId7" Type="http://schemas.openxmlformats.org/officeDocument/2006/relationships/tags" Target="../tags/tag217.xml"/><Relationship Id="rId8" Type="http://schemas.openxmlformats.org/officeDocument/2006/relationships/tags" Target="../tags/tag218.xml"/></Relationships>
</file>

<file path=ppt/slideMasters/_rels/slideMaster12.xml.rels><?xml version="1.0" encoding="UTF-8" standalone="yes"?>
<Relationships xmlns="http://schemas.openxmlformats.org/package/2006/relationships"><Relationship Id="rId9" Type="http://schemas.openxmlformats.org/officeDocument/2006/relationships/tags" Target="../tags/tag240.xml"/><Relationship Id="rId20" Type="http://schemas.openxmlformats.org/officeDocument/2006/relationships/tags" Target="../tags/tag251.xml"/><Relationship Id="rId21" Type="http://schemas.openxmlformats.org/officeDocument/2006/relationships/tags" Target="../tags/tag252.xml"/><Relationship Id="rId22" Type="http://schemas.openxmlformats.org/officeDocument/2006/relationships/tags" Target="../tags/tag253.xml"/><Relationship Id="rId23" Type="http://schemas.openxmlformats.org/officeDocument/2006/relationships/tags" Target="../tags/tag254.xml"/><Relationship Id="rId24" Type="http://schemas.openxmlformats.org/officeDocument/2006/relationships/oleObject" Target="../embeddings/oleObject53.bin"/><Relationship Id="rId25" Type="http://schemas.openxmlformats.org/officeDocument/2006/relationships/image" Target="../media/image1.emf"/><Relationship Id="rId10" Type="http://schemas.openxmlformats.org/officeDocument/2006/relationships/tags" Target="../tags/tag241.xml"/><Relationship Id="rId11" Type="http://schemas.openxmlformats.org/officeDocument/2006/relationships/tags" Target="../tags/tag242.xml"/><Relationship Id="rId12" Type="http://schemas.openxmlformats.org/officeDocument/2006/relationships/tags" Target="../tags/tag243.xml"/><Relationship Id="rId13" Type="http://schemas.openxmlformats.org/officeDocument/2006/relationships/tags" Target="../tags/tag244.xml"/><Relationship Id="rId14" Type="http://schemas.openxmlformats.org/officeDocument/2006/relationships/tags" Target="../tags/tag245.xml"/><Relationship Id="rId15" Type="http://schemas.openxmlformats.org/officeDocument/2006/relationships/tags" Target="../tags/tag246.xml"/><Relationship Id="rId16" Type="http://schemas.openxmlformats.org/officeDocument/2006/relationships/tags" Target="../tags/tag247.xml"/><Relationship Id="rId17" Type="http://schemas.openxmlformats.org/officeDocument/2006/relationships/tags" Target="../tags/tag248.xml"/><Relationship Id="rId18" Type="http://schemas.openxmlformats.org/officeDocument/2006/relationships/tags" Target="../tags/tag249.xml"/><Relationship Id="rId19" Type="http://schemas.openxmlformats.org/officeDocument/2006/relationships/tags" Target="../tags/tag250.xml"/><Relationship Id="rId1" Type="http://schemas.openxmlformats.org/officeDocument/2006/relationships/slideLayout" Target="../slideLayouts/slideLayout42.xml"/><Relationship Id="rId2" Type="http://schemas.openxmlformats.org/officeDocument/2006/relationships/slideLayout" Target="../slideLayouts/slideLayout43.xml"/><Relationship Id="rId3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5.xml"/><Relationship Id="rId5" Type="http://schemas.openxmlformats.org/officeDocument/2006/relationships/theme" Target="../theme/theme12.xml"/><Relationship Id="rId6" Type="http://schemas.openxmlformats.org/officeDocument/2006/relationships/vmlDrawing" Target="../drawings/vmlDrawing53.vml"/><Relationship Id="rId7" Type="http://schemas.openxmlformats.org/officeDocument/2006/relationships/tags" Target="../tags/tag238.xml"/><Relationship Id="rId8" Type="http://schemas.openxmlformats.org/officeDocument/2006/relationships/tags" Target="../tags/tag239.xml"/></Relationships>
</file>

<file path=ppt/slideMasters/_rels/slideMaster13.xml.rels><?xml version="1.0" encoding="UTF-8" standalone="yes"?>
<Relationships xmlns="http://schemas.openxmlformats.org/package/2006/relationships"><Relationship Id="rId9" Type="http://schemas.openxmlformats.org/officeDocument/2006/relationships/tags" Target="../tags/tag261.xml"/><Relationship Id="rId20" Type="http://schemas.openxmlformats.org/officeDocument/2006/relationships/tags" Target="../tags/tag272.xml"/><Relationship Id="rId21" Type="http://schemas.openxmlformats.org/officeDocument/2006/relationships/tags" Target="../tags/tag273.xml"/><Relationship Id="rId22" Type="http://schemas.openxmlformats.org/officeDocument/2006/relationships/tags" Target="../tags/tag274.xml"/><Relationship Id="rId23" Type="http://schemas.openxmlformats.org/officeDocument/2006/relationships/tags" Target="../tags/tag275.xml"/><Relationship Id="rId24" Type="http://schemas.openxmlformats.org/officeDocument/2006/relationships/oleObject" Target="../embeddings/oleObject58.bin"/><Relationship Id="rId25" Type="http://schemas.openxmlformats.org/officeDocument/2006/relationships/image" Target="../media/image1.emf"/><Relationship Id="rId10" Type="http://schemas.openxmlformats.org/officeDocument/2006/relationships/tags" Target="../tags/tag262.xml"/><Relationship Id="rId11" Type="http://schemas.openxmlformats.org/officeDocument/2006/relationships/tags" Target="../tags/tag263.xml"/><Relationship Id="rId12" Type="http://schemas.openxmlformats.org/officeDocument/2006/relationships/tags" Target="../tags/tag264.xml"/><Relationship Id="rId13" Type="http://schemas.openxmlformats.org/officeDocument/2006/relationships/tags" Target="../tags/tag265.xml"/><Relationship Id="rId14" Type="http://schemas.openxmlformats.org/officeDocument/2006/relationships/tags" Target="../tags/tag266.xml"/><Relationship Id="rId15" Type="http://schemas.openxmlformats.org/officeDocument/2006/relationships/tags" Target="../tags/tag267.xml"/><Relationship Id="rId16" Type="http://schemas.openxmlformats.org/officeDocument/2006/relationships/tags" Target="../tags/tag268.xml"/><Relationship Id="rId17" Type="http://schemas.openxmlformats.org/officeDocument/2006/relationships/tags" Target="../tags/tag269.xml"/><Relationship Id="rId18" Type="http://schemas.openxmlformats.org/officeDocument/2006/relationships/tags" Target="../tags/tag270.xml"/><Relationship Id="rId19" Type="http://schemas.openxmlformats.org/officeDocument/2006/relationships/tags" Target="../tags/tag271.xml"/><Relationship Id="rId1" Type="http://schemas.openxmlformats.org/officeDocument/2006/relationships/slideLayout" Target="../slideLayouts/slideLayout46.xml"/><Relationship Id="rId2" Type="http://schemas.openxmlformats.org/officeDocument/2006/relationships/slideLayout" Target="../slideLayouts/slideLayout47.xml"/><Relationship Id="rId3" Type="http://schemas.openxmlformats.org/officeDocument/2006/relationships/slideLayout" Target="../slideLayouts/slideLayout48.xml"/><Relationship Id="rId4" Type="http://schemas.openxmlformats.org/officeDocument/2006/relationships/slideLayout" Target="../slideLayouts/slideLayout49.xml"/><Relationship Id="rId5" Type="http://schemas.openxmlformats.org/officeDocument/2006/relationships/theme" Target="../theme/theme13.xml"/><Relationship Id="rId6" Type="http://schemas.openxmlformats.org/officeDocument/2006/relationships/vmlDrawing" Target="../drawings/vmlDrawing58.vml"/><Relationship Id="rId7" Type="http://schemas.openxmlformats.org/officeDocument/2006/relationships/tags" Target="../tags/tag259.xml"/><Relationship Id="rId8" Type="http://schemas.openxmlformats.org/officeDocument/2006/relationships/tags" Target="../tags/tag260.xml"/></Relationships>
</file>

<file path=ppt/slideMasters/_rels/slideMaster14.xml.rels><?xml version="1.0" encoding="UTF-8" standalone="yes"?>
<Relationships xmlns="http://schemas.openxmlformats.org/package/2006/relationships"><Relationship Id="rId9" Type="http://schemas.openxmlformats.org/officeDocument/2006/relationships/tags" Target="../tags/tag282.xml"/><Relationship Id="rId20" Type="http://schemas.openxmlformats.org/officeDocument/2006/relationships/tags" Target="../tags/tag293.xml"/><Relationship Id="rId21" Type="http://schemas.openxmlformats.org/officeDocument/2006/relationships/tags" Target="../tags/tag294.xml"/><Relationship Id="rId22" Type="http://schemas.openxmlformats.org/officeDocument/2006/relationships/tags" Target="../tags/tag295.xml"/><Relationship Id="rId23" Type="http://schemas.openxmlformats.org/officeDocument/2006/relationships/tags" Target="../tags/tag296.xml"/><Relationship Id="rId24" Type="http://schemas.openxmlformats.org/officeDocument/2006/relationships/oleObject" Target="../embeddings/oleObject63.bin"/><Relationship Id="rId25" Type="http://schemas.openxmlformats.org/officeDocument/2006/relationships/image" Target="../media/image1.emf"/><Relationship Id="rId10" Type="http://schemas.openxmlformats.org/officeDocument/2006/relationships/tags" Target="../tags/tag283.xml"/><Relationship Id="rId11" Type="http://schemas.openxmlformats.org/officeDocument/2006/relationships/tags" Target="../tags/tag284.xml"/><Relationship Id="rId12" Type="http://schemas.openxmlformats.org/officeDocument/2006/relationships/tags" Target="../tags/tag285.xml"/><Relationship Id="rId13" Type="http://schemas.openxmlformats.org/officeDocument/2006/relationships/tags" Target="../tags/tag286.xml"/><Relationship Id="rId14" Type="http://schemas.openxmlformats.org/officeDocument/2006/relationships/tags" Target="../tags/tag287.xml"/><Relationship Id="rId15" Type="http://schemas.openxmlformats.org/officeDocument/2006/relationships/tags" Target="../tags/tag288.xml"/><Relationship Id="rId16" Type="http://schemas.openxmlformats.org/officeDocument/2006/relationships/tags" Target="../tags/tag289.xml"/><Relationship Id="rId17" Type="http://schemas.openxmlformats.org/officeDocument/2006/relationships/tags" Target="../tags/tag290.xml"/><Relationship Id="rId18" Type="http://schemas.openxmlformats.org/officeDocument/2006/relationships/tags" Target="../tags/tag291.xml"/><Relationship Id="rId19" Type="http://schemas.openxmlformats.org/officeDocument/2006/relationships/tags" Target="../tags/tag292.xml"/><Relationship Id="rId1" Type="http://schemas.openxmlformats.org/officeDocument/2006/relationships/slideLayout" Target="../slideLayouts/slideLayout50.xml"/><Relationship Id="rId2" Type="http://schemas.openxmlformats.org/officeDocument/2006/relationships/slideLayout" Target="../slideLayouts/slideLayout51.xml"/><Relationship Id="rId3" Type="http://schemas.openxmlformats.org/officeDocument/2006/relationships/slideLayout" Target="../slideLayouts/slideLayout52.xml"/><Relationship Id="rId4" Type="http://schemas.openxmlformats.org/officeDocument/2006/relationships/slideLayout" Target="../slideLayouts/slideLayout53.xml"/><Relationship Id="rId5" Type="http://schemas.openxmlformats.org/officeDocument/2006/relationships/theme" Target="../theme/theme14.xml"/><Relationship Id="rId6" Type="http://schemas.openxmlformats.org/officeDocument/2006/relationships/vmlDrawing" Target="../drawings/vmlDrawing63.vml"/><Relationship Id="rId7" Type="http://schemas.openxmlformats.org/officeDocument/2006/relationships/tags" Target="../tags/tag280.xml"/><Relationship Id="rId8" Type="http://schemas.openxmlformats.org/officeDocument/2006/relationships/tags" Target="../tags/tag281.xml"/></Relationships>
</file>

<file path=ppt/slideMasters/_rels/slideMaster15.xml.rels><?xml version="1.0" encoding="UTF-8" standalone="yes"?>
<Relationships xmlns="http://schemas.openxmlformats.org/package/2006/relationships"><Relationship Id="rId9" Type="http://schemas.openxmlformats.org/officeDocument/2006/relationships/tags" Target="../tags/tag303.xml"/><Relationship Id="rId20" Type="http://schemas.openxmlformats.org/officeDocument/2006/relationships/tags" Target="../tags/tag314.xml"/><Relationship Id="rId21" Type="http://schemas.openxmlformats.org/officeDocument/2006/relationships/tags" Target="../tags/tag315.xml"/><Relationship Id="rId22" Type="http://schemas.openxmlformats.org/officeDocument/2006/relationships/tags" Target="../tags/tag316.xml"/><Relationship Id="rId23" Type="http://schemas.openxmlformats.org/officeDocument/2006/relationships/tags" Target="../tags/tag317.xml"/><Relationship Id="rId24" Type="http://schemas.openxmlformats.org/officeDocument/2006/relationships/oleObject" Target="../embeddings/oleObject68.bin"/><Relationship Id="rId25" Type="http://schemas.openxmlformats.org/officeDocument/2006/relationships/image" Target="../media/image1.emf"/><Relationship Id="rId10" Type="http://schemas.openxmlformats.org/officeDocument/2006/relationships/tags" Target="../tags/tag304.xml"/><Relationship Id="rId11" Type="http://schemas.openxmlformats.org/officeDocument/2006/relationships/tags" Target="../tags/tag305.xml"/><Relationship Id="rId12" Type="http://schemas.openxmlformats.org/officeDocument/2006/relationships/tags" Target="../tags/tag306.xml"/><Relationship Id="rId13" Type="http://schemas.openxmlformats.org/officeDocument/2006/relationships/tags" Target="../tags/tag307.xml"/><Relationship Id="rId14" Type="http://schemas.openxmlformats.org/officeDocument/2006/relationships/tags" Target="../tags/tag308.xml"/><Relationship Id="rId15" Type="http://schemas.openxmlformats.org/officeDocument/2006/relationships/tags" Target="../tags/tag309.xml"/><Relationship Id="rId16" Type="http://schemas.openxmlformats.org/officeDocument/2006/relationships/tags" Target="../tags/tag310.xml"/><Relationship Id="rId17" Type="http://schemas.openxmlformats.org/officeDocument/2006/relationships/tags" Target="../tags/tag311.xml"/><Relationship Id="rId18" Type="http://schemas.openxmlformats.org/officeDocument/2006/relationships/tags" Target="../tags/tag312.xml"/><Relationship Id="rId19" Type="http://schemas.openxmlformats.org/officeDocument/2006/relationships/tags" Target="../tags/tag313.xml"/><Relationship Id="rId1" Type="http://schemas.openxmlformats.org/officeDocument/2006/relationships/slideLayout" Target="../slideLayouts/slideLayout54.xml"/><Relationship Id="rId2" Type="http://schemas.openxmlformats.org/officeDocument/2006/relationships/slideLayout" Target="../slideLayouts/slideLayout55.xml"/><Relationship Id="rId3" Type="http://schemas.openxmlformats.org/officeDocument/2006/relationships/slideLayout" Target="../slideLayouts/slideLayout56.xml"/><Relationship Id="rId4" Type="http://schemas.openxmlformats.org/officeDocument/2006/relationships/slideLayout" Target="../slideLayouts/slideLayout57.xml"/><Relationship Id="rId5" Type="http://schemas.openxmlformats.org/officeDocument/2006/relationships/theme" Target="../theme/theme15.xml"/><Relationship Id="rId6" Type="http://schemas.openxmlformats.org/officeDocument/2006/relationships/vmlDrawing" Target="../drawings/vmlDrawing68.vml"/><Relationship Id="rId7" Type="http://schemas.openxmlformats.org/officeDocument/2006/relationships/tags" Target="../tags/tag301.xml"/><Relationship Id="rId8" Type="http://schemas.openxmlformats.org/officeDocument/2006/relationships/tags" Target="../tags/tag302.xml"/></Relationships>
</file>

<file path=ppt/slideMasters/_rels/slideMaster16.xml.rels><?xml version="1.0" encoding="UTF-8" standalone="yes"?>
<Relationships xmlns="http://schemas.openxmlformats.org/package/2006/relationships"><Relationship Id="rId9" Type="http://schemas.openxmlformats.org/officeDocument/2006/relationships/tags" Target="../tags/tag324.xml"/><Relationship Id="rId20" Type="http://schemas.openxmlformats.org/officeDocument/2006/relationships/tags" Target="../tags/tag335.xml"/><Relationship Id="rId21" Type="http://schemas.openxmlformats.org/officeDocument/2006/relationships/tags" Target="../tags/tag336.xml"/><Relationship Id="rId22" Type="http://schemas.openxmlformats.org/officeDocument/2006/relationships/tags" Target="../tags/tag337.xml"/><Relationship Id="rId23" Type="http://schemas.openxmlformats.org/officeDocument/2006/relationships/tags" Target="../tags/tag338.xml"/><Relationship Id="rId24" Type="http://schemas.openxmlformats.org/officeDocument/2006/relationships/oleObject" Target="../embeddings/oleObject73.bin"/><Relationship Id="rId25" Type="http://schemas.openxmlformats.org/officeDocument/2006/relationships/image" Target="../media/image1.emf"/><Relationship Id="rId10" Type="http://schemas.openxmlformats.org/officeDocument/2006/relationships/tags" Target="../tags/tag325.xml"/><Relationship Id="rId11" Type="http://schemas.openxmlformats.org/officeDocument/2006/relationships/tags" Target="../tags/tag326.xml"/><Relationship Id="rId12" Type="http://schemas.openxmlformats.org/officeDocument/2006/relationships/tags" Target="../tags/tag327.xml"/><Relationship Id="rId13" Type="http://schemas.openxmlformats.org/officeDocument/2006/relationships/tags" Target="../tags/tag328.xml"/><Relationship Id="rId14" Type="http://schemas.openxmlformats.org/officeDocument/2006/relationships/tags" Target="../tags/tag329.xml"/><Relationship Id="rId15" Type="http://schemas.openxmlformats.org/officeDocument/2006/relationships/tags" Target="../tags/tag330.xml"/><Relationship Id="rId16" Type="http://schemas.openxmlformats.org/officeDocument/2006/relationships/tags" Target="../tags/tag331.xml"/><Relationship Id="rId17" Type="http://schemas.openxmlformats.org/officeDocument/2006/relationships/tags" Target="../tags/tag332.xml"/><Relationship Id="rId18" Type="http://schemas.openxmlformats.org/officeDocument/2006/relationships/tags" Target="../tags/tag333.xml"/><Relationship Id="rId19" Type="http://schemas.openxmlformats.org/officeDocument/2006/relationships/tags" Target="../tags/tag334.xml"/><Relationship Id="rId1" Type="http://schemas.openxmlformats.org/officeDocument/2006/relationships/slideLayout" Target="../slideLayouts/slideLayout58.xml"/><Relationship Id="rId2" Type="http://schemas.openxmlformats.org/officeDocument/2006/relationships/slideLayout" Target="../slideLayouts/slideLayout59.xml"/><Relationship Id="rId3" Type="http://schemas.openxmlformats.org/officeDocument/2006/relationships/slideLayout" Target="../slideLayouts/slideLayout60.xml"/><Relationship Id="rId4" Type="http://schemas.openxmlformats.org/officeDocument/2006/relationships/slideLayout" Target="../slideLayouts/slideLayout61.xml"/><Relationship Id="rId5" Type="http://schemas.openxmlformats.org/officeDocument/2006/relationships/theme" Target="../theme/theme16.xml"/><Relationship Id="rId6" Type="http://schemas.openxmlformats.org/officeDocument/2006/relationships/vmlDrawing" Target="../drawings/vmlDrawing73.vml"/><Relationship Id="rId7" Type="http://schemas.openxmlformats.org/officeDocument/2006/relationships/tags" Target="../tags/tag322.xml"/><Relationship Id="rId8" Type="http://schemas.openxmlformats.org/officeDocument/2006/relationships/tags" Target="../tags/tag323.xml"/></Relationships>
</file>

<file path=ppt/slideMasters/_rels/slideMaster17.xml.rels><?xml version="1.0" encoding="UTF-8" standalone="yes"?>
<Relationships xmlns="http://schemas.openxmlformats.org/package/2006/relationships"><Relationship Id="rId9" Type="http://schemas.openxmlformats.org/officeDocument/2006/relationships/tags" Target="../tags/tag345.xml"/><Relationship Id="rId20" Type="http://schemas.openxmlformats.org/officeDocument/2006/relationships/tags" Target="../tags/tag356.xml"/><Relationship Id="rId21" Type="http://schemas.openxmlformats.org/officeDocument/2006/relationships/tags" Target="../tags/tag357.xml"/><Relationship Id="rId22" Type="http://schemas.openxmlformats.org/officeDocument/2006/relationships/tags" Target="../tags/tag358.xml"/><Relationship Id="rId23" Type="http://schemas.openxmlformats.org/officeDocument/2006/relationships/tags" Target="../tags/tag359.xml"/><Relationship Id="rId24" Type="http://schemas.openxmlformats.org/officeDocument/2006/relationships/oleObject" Target="../embeddings/oleObject78.bin"/><Relationship Id="rId25" Type="http://schemas.openxmlformats.org/officeDocument/2006/relationships/image" Target="../media/image1.emf"/><Relationship Id="rId10" Type="http://schemas.openxmlformats.org/officeDocument/2006/relationships/tags" Target="../tags/tag346.xml"/><Relationship Id="rId11" Type="http://schemas.openxmlformats.org/officeDocument/2006/relationships/tags" Target="../tags/tag347.xml"/><Relationship Id="rId12" Type="http://schemas.openxmlformats.org/officeDocument/2006/relationships/tags" Target="../tags/tag348.xml"/><Relationship Id="rId13" Type="http://schemas.openxmlformats.org/officeDocument/2006/relationships/tags" Target="../tags/tag349.xml"/><Relationship Id="rId14" Type="http://schemas.openxmlformats.org/officeDocument/2006/relationships/tags" Target="../tags/tag350.xml"/><Relationship Id="rId15" Type="http://schemas.openxmlformats.org/officeDocument/2006/relationships/tags" Target="../tags/tag351.xml"/><Relationship Id="rId16" Type="http://schemas.openxmlformats.org/officeDocument/2006/relationships/tags" Target="../tags/tag352.xml"/><Relationship Id="rId17" Type="http://schemas.openxmlformats.org/officeDocument/2006/relationships/tags" Target="../tags/tag353.xml"/><Relationship Id="rId18" Type="http://schemas.openxmlformats.org/officeDocument/2006/relationships/tags" Target="../tags/tag354.xml"/><Relationship Id="rId19" Type="http://schemas.openxmlformats.org/officeDocument/2006/relationships/tags" Target="../tags/tag355.xml"/><Relationship Id="rId1" Type="http://schemas.openxmlformats.org/officeDocument/2006/relationships/slideLayout" Target="../slideLayouts/slideLayout62.xml"/><Relationship Id="rId2" Type="http://schemas.openxmlformats.org/officeDocument/2006/relationships/slideLayout" Target="../slideLayouts/slideLayout63.xml"/><Relationship Id="rId3" Type="http://schemas.openxmlformats.org/officeDocument/2006/relationships/slideLayout" Target="../slideLayouts/slideLayout64.xml"/><Relationship Id="rId4" Type="http://schemas.openxmlformats.org/officeDocument/2006/relationships/slideLayout" Target="../slideLayouts/slideLayout65.xml"/><Relationship Id="rId5" Type="http://schemas.openxmlformats.org/officeDocument/2006/relationships/theme" Target="../theme/theme17.xml"/><Relationship Id="rId6" Type="http://schemas.openxmlformats.org/officeDocument/2006/relationships/vmlDrawing" Target="../drawings/vmlDrawing78.vml"/><Relationship Id="rId7" Type="http://schemas.openxmlformats.org/officeDocument/2006/relationships/tags" Target="../tags/tag343.xml"/><Relationship Id="rId8" Type="http://schemas.openxmlformats.org/officeDocument/2006/relationships/tags" Target="../tags/tag344.xml"/></Relationships>
</file>

<file path=ppt/slideMasters/_rels/slideMaster18.xml.rels><?xml version="1.0" encoding="UTF-8" standalone="yes"?>
<Relationships xmlns="http://schemas.openxmlformats.org/package/2006/relationships"><Relationship Id="rId9" Type="http://schemas.openxmlformats.org/officeDocument/2006/relationships/tags" Target="../tags/tag367.xml"/><Relationship Id="rId20" Type="http://schemas.openxmlformats.org/officeDocument/2006/relationships/tags" Target="../tags/tag378.xml"/><Relationship Id="rId21" Type="http://schemas.openxmlformats.org/officeDocument/2006/relationships/tags" Target="../tags/tag379.xml"/><Relationship Id="rId22" Type="http://schemas.openxmlformats.org/officeDocument/2006/relationships/tags" Target="../tags/tag380.xml"/><Relationship Id="rId23" Type="http://schemas.openxmlformats.org/officeDocument/2006/relationships/oleObject" Target="../embeddings/oleObject83.bin"/><Relationship Id="rId24" Type="http://schemas.openxmlformats.org/officeDocument/2006/relationships/image" Target="../media/image1.emf"/><Relationship Id="rId10" Type="http://schemas.openxmlformats.org/officeDocument/2006/relationships/tags" Target="../tags/tag368.xml"/><Relationship Id="rId11" Type="http://schemas.openxmlformats.org/officeDocument/2006/relationships/tags" Target="../tags/tag369.xml"/><Relationship Id="rId12" Type="http://schemas.openxmlformats.org/officeDocument/2006/relationships/tags" Target="../tags/tag370.xml"/><Relationship Id="rId13" Type="http://schemas.openxmlformats.org/officeDocument/2006/relationships/tags" Target="../tags/tag371.xml"/><Relationship Id="rId14" Type="http://schemas.openxmlformats.org/officeDocument/2006/relationships/tags" Target="../tags/tag372.xml"/><Relationship Id="rId15" Type="http://schemas.openxmlformats.org/officeDocument/2006/relationships/tags" Target="../tags/tag373.xml"/><Relationship Id="rId16" Type="http://schemas.openxmlformats.org/officeDocument/2006/relationships/tags" Target="../tags/tag374.xml"/><Relationship Id="rId17" Type="http://schemas.openxmlformats.org/officeDocument/2006/relationships/tags" Target="../tags/tag375.xml"/><Relationship Id="rId18" Type="http://schemas.openxmlformats.org/officeDocument/2006/relationships/tags" Target="../tags/tag376.xml"/><Relationship Id="rId19" Type="http://schemas.openxmlformats.org/officeDocument/2006/relationships/tags" Target="../tags/tag377.xml"/><Relationship Id="rId1" Type="http://schemas.openxmlformats.org/officeDocument/2006/relationships/slideLayout" Target="../slideLayouts/slideLayout66.xml"/><Relationship Id="rId2" Type="http://schemas.openxmlformats.org/officeDocument/2006/relationships/slideLayout" Target="../slideLayouts/slideLayout67.xml"/><Relationship Id="rId3" Type="http://schemas.openxmlformats.org/officeDocument/2006/relationships/slideLayout" Target="../slideLayouts/slideLayout68.xml"/><Relationship Id="rId4" Type="http://schemas.openxmlformats.org/officeDocument/2006/relationships/theme" Target="../theme/theme18.xml"/><Relationship Id="rId5" Type="http://schemas.openxmlformats.org/officeDocument/2006/relationships/vmlDrawing" Target="../drawings/vmlDrawing83.vml"/><Relationship Id="rId6" Type="http://schemas.openxmlformats.org/officeDocument/2006/relationships/tags" Target="../tags/tag364.xml"/><Relationship Id="rId7" Type="http://schemas.openxmlformats.org/officeDocument/2006/relationships/tags" Target="../tags/tag365.xml"/><Relationship Id="rId8" Type="http://schemas.openxmlformats.org/officeDocument/2006/relationships/tags" Target="../tags/tag366.xml"/></Relationships>
</file>

<file path=ppt/slideMasters/_rels/slideMaster19.xml.rels><?xml version="1.0" encoding="UTF-8" standalone="yes"?>
<Relationships xmlns="http://schemas.openxmlformats.org/package/2006/relationships"><Relationship Id="rId9" Type="http://schemas.openxmlformats.org/officeDocument/2006/relationships/tags" Target="../tags/tag386.xml"/><Relationship Id="rId20" Type="http://schemas.openxmlformats.org/officeDocument/2006/relationships/tags" Target="../tags/tag397.xml"/><Relationship Id="rId21" Type="http://schemas.openxmlformats.org/officeDocument/2006/relationships/tags" Target="../tags/tag398.xml"/><Relationship Id="rId22" Type="http://schemas.openxmlformats.org/officeDocument/2006/relationships/tags" Target="../tags/tag399.xml"/><Relationship Id="rId23" Type="http://schemas.openxmlformats.org/officeDocument/2006/relationships/tags" Target="../tags/tag400.xml"/><Relationship Id="rId24" Type="http://schemas.openxmlformats.org/officeDocument/2006/relationships/oleObject" Target="../embeddings/oleObject87.bin"/><Relationship Id="rId25" Type="http://schemas.openxmlformats.org/officeDocument/2006/relationships/image" Target="../media/image1.emf"/><Relationship Id="rId10" Type="http://schemas.openxmlformats.org/officeDocument/2006/relationships/tags" Target="../tags/tag387.xml"/><Relationship Id="rId11" Type="http://schemas.openxmlformats.org/officeDocument/2006/relationships/tags" Target="../tags/tag388.xml"/><Relationship Id="rId12" Type="http://schemas.openxmlformats.org/officeDocument/2006/relationships/tags" Target="../tags/tag389.xml"/><Relationship Id="rId13" Type="http://schemas.openxmlformats.org/officeDocument/2006/relationships/tags" Target="../tags/tag390.xml"/><Relationship Id="rId14" Type="http://schemas.openxmlformats.org/officeDocument/2006/relationships/tags" Target="../tags/tag391.xml"/><Relationship Id="rId15" Type="http://schemas.openxmlformats.org/officeDocument/2006/relationships/tags" Target="../tags/tag392.xml"/><Relationship Id="rId16" Type="http://schemas.openxmlformats.org/officeDocument/2006/relationships/tags" Target="../tags/tag393.xml"/><Relationship Id="rId17" Type="http://schemas.openxmlformats.org/officeDocument/2006/relationships/tags" Target="../tags/tag394.xml"/><Relationship Id="rId18" Type="http://schemas.openxmlformats.org/officeDocument/2006/relationships/tags" Target="../tags/tag395.xml"/><Relationship Id="rId19" Type="http://schemas.openxmlformats.org/officeDocument/2006/relationships/tags" Target="../tags/tag396.xml"/><Relationship Id="rId1" Type="http://schemas.openxmlformats.org/officeDocument/2006/relationships/slideLayout" Target="../slideLayouts/slideLayout69.xml"/><Relationship Id="rId2" Type="http://schemas.openxmlformats.org/officeDocument/2006/relationships/slideLayout" Target="../slideLayouts/slideLayout70.xml"/><Relationship Id="rId3" Type="http://schemas.openxmlformats.org/officeDocument/2006/relationships/slideLayout" Target="../slideLayouts/slideLayout71.xml"/><Relationship Id="rId4" Type="http://schemas.openxmlformats.org/officeDocument/2006/relationships/slideLayout" Target="../slideLayouts/slideLayout72.xml"/><Relationship Id="rId5" Type="http://schemas.openxmlformats.org/officeDocument/2006/relationships/theme" Target="../theme/theme19.xml"/><Relationship Id="rId6" Type="http://schemas.openxmlformats.org/officeDocument/2006/relationships/vmlDrawing" Target="../drawings/vmlDrawing87.vml"/><Relationship Id="rId7" Type="http://schemas.openxmlformats.org/officeDocument/2006/relationships/tags" Target="../tags/tag384.xml"/><Relationship Id="rId8" Type="http://schemas.openxmlformats.org/officeDocument/2006/relationships/tags" Target="../tags/tag385.xml"/></Relationships>
</file>

<file path=ppt/slideMasters/_rels/slideMaster2.xml.rels><?xml version="1.0" encoding="UTF-8" standalone="yes"?>
<Relationships xmlns="http://schemas.openxmlformats.org/package/2006/relationships"><Relationship Id="rId9" Type="http://schemas.openxmlformats.org/officeDocument/2006/relationships/tags" Target="../tags/tag26.xml"/><Relationship Id="rId20" Type="http://schemas.openxmlformats.org/officeDocument/2006/relationships/tags" Target="../tags/tag37.xml"/><Relationship Id="rId21" Type="http://schemas.openxmlformats.org/officeDocument/2006/relationships/tags" Target="../tags/tag38.xml"/><Relationship Id="rId22" Type="http://schemas.openxmlformats.org/officeDocument/2006/relationships/tags" Target="../tags/tag39.xml"/><Relationship Id="rId23" Type="http://schemas.openxmlformats.org/officeDocument/2006/relationships/oleObject" Target="../embeddings/oleObject6.bin"/><Relationship Id="rId24" Type="http://schemas.openxmlformats.org/officeDocument/2006/relationships/image" Target="../media/image1.emf"/><Relationship Id="rId10" Type="http://schemas.openxmlformats.org/officeDocument/2006/relationships/tags" Target="../tags/tag27.xml"/><Relationship Id="rId11" Type="http://schemas.openxmlformats.org/officeDocument/2006/relationships/tags" Target="../tags/tag28.xml"/><Relationship Id="rId12" Type="http://schemas.openxmlformats.org/officeDocument/2006/relationships/tags" Target="../tags/tag29.xml"/><Relationship Id="rId13" Type="http://schemas.openxmlformats.org/officeDocument/2006/relationships/tags" Target="../tags/tag30.xml"/><Relationship Id="rId14" Type="http://schemas.openxmlformats.org/officeDocument/2006/relationships/tags" Target="../tags/tag31.xml"/><Relationship Id="rId15" Type="http://schemas.openxmlformats.org/officeDocument/2006/relationships/tags" Target="../tags/tag32.xml"/><Relationship Id="rId16" Type="http://schemas.openxmlformats.org/officeDocument/2006/relationships/tags" Target="../tags/tag33.xml"/><Relationship Id="rId17" Type="http://schemas.openxmlformats.org/officeDocument/2006/relationships/tags" Target="../tags/tag34.xml"/><Relationship Id="rId18" Type="http://schemas.openxmlformats.org/officeDocument/2006/relationships/tags" Target="../tags/tag35.xml"/><Relationship Id="rId19" Type="http://schemas.openxmlformats.org/officeDocument/2006/relationships/tags" Target="../tags/tag36.xml"/><Relationship Id="rId1" Type="http://schemas.openxmlformats.org/officeDocument/2006/relationships/slideLayout" Target="../slideLayouts/slideLayout5.xml"/><Relationship Id="rId2" Type="http://schemas.openxmlformats.org/officeDocument/2006/relationships/slideLayout" Target="../slideLayouts/slideLayout6.xml"/><Relationship Id="rId3" Type="http://schemas.openxmlformats.org/officeDocument/2006/relationships/slideLayout" Target="../slideLayouts/slideLayout7.xml"/><Relationship Id="rId4" Type="http://schemas.openxmlformats.org/officeDocument/2006/relationships/theme" Target="../theme/theme2.xml"/><Relationship Id="rId5" Type="http://schemas.openxmlformats.org/officeDocument/2006/relationships/vmlDrawing" Target="../drawings/vmlDrawing6.vml"/><Relationship Id="rId6" Type="http://schemas.openxmlformats.org/officeDocument/2006/relationships/tags" Target="../tags/tag23.xml"/><Relationship Id="rId7" Type="http://schemas.openxmlformats.org/officeDocument/2006/relationships/tags" Target="../tags/tag24.xml"/><Relationship Id="rId8" Type="http://schemas.openxmlformats.org/officeDocument/2006/relationships/tags" Target="../tags/tag25.xml"/></Relationships>
</file>

<file path=ppt/slideMasters/_rels/slideMaster20.xml.rels><?xml version="1.0" encoding="UTF-8" standalone="yes"?>
<Relationships xmlns="http://schemas.openxmlformats.org/package/2006/relationships"><Relationship Id="rId20" Type="http://schemas.openxmlformats.org/officeDocument/2006/relationships/tags" Target="../tags/tag419.xml"/><Relationship Id="rId21" Type="http://schemas.openxmlformats.org/officeDocument/2006/relationships/tags" Target="../tags/tag420.xml"/><Relationship Id="rId22" Type="http://schemas.openxmlformats.org/officeDocument/2006/relationships/tags" Target="../tags/tag421.xml"/><Relationship Id="rId23" Type="http://schemas.openxmlformats.org/officeDocument/2006/relationships/tags" Target="../tags/tag422.xml"/><Relationship Id="rId24" Type="http://schemas.openxmlformats.org/officeDocument/2006/relationships/tags" Target="../tags/tag423.xml"/><Relationship Id="rId25" Type="http://schemas.openxmlformats.org/officeDocument/2006/relationships/tags" Target="../tags/tag424.xml"/><Relationship Id="rId26" Type="http://schemas.openxmlformats.org/officeDocument/2006/relationships/tags" Target="../tags/tag425.xml"/><Relationship Id="rId27" Type="http://schemas.openxmlformats.org/officeDocument/2006/relationships/tags" Target="../tags/tag426.xml"/><Relationship Id="rId28" Type="http://schemas.openxmlformats.org/officeDocument/2006/relationships/tags" Target="../tags/tag427.xml"/><Relationship Id="rId29" Type="http://schemas.openxmlformats.org/officeDocument/2006/relationships/tags" Target="../tags/tag428.xml"/><Relationship Id="rId1" Type="http://schemas.openxmlformats.org/officeDocument/2006/relationships/slideLayout" Target="../slideLayouts/slideLayout73.xml"/><Relationship Id="rId2" Type="http://schemas.openxmlformats.org/officeDocument/2006/relationships/slideLayout" Target="../slideLayouts/slideLayout74.xml"/><Relationship Id="rId3" Type="http://schemas.openxmlformats.org/officeDocument/2006/relationships/slideLayout" Target="../slideLayouts/slideLayout75.xml"/><Relationship Id="rId4" Type="http://schemas.openxmlformats.org/officeDocument/2006/relationships/theme" Target="../theme/theme20.xml"/><Relationship Id="rId5" Type="http://schemas.openxmlformats.org/officeDocument/2006/relationships/vmlDrawing" Target="../drawings/vmlDrawing92.vml"/><Relationship Id="rId30" Type="http://schemas.openxmlformats.org/officeDocument/2006/relationships/tags" Target="../tags/tag429.xml"/><Relationship Id="rId31" Type="http://schemas.openxmlformats.org/officeDocument/2006/relationships/tags" Target="../tags/tag430.xml"/><Relationship Id="rId32" Type="http://schemas.openxmlformats.org/officeDocument/2006/relationships/tags" Target="../tags/tag431.xml"/><Relationship Id="rId9" Type="http://schemas.openxmlformats.org/officeDocument/2006/relationships/tags" Target="../tags/tag408.xml"/><Relationship Id="rId6" Type="http://schemas.openxmlformats.org/officeDocument/2006/relationships/tags" Target="../tags/tag405.xml"/><Relationship Id="rId7" Type="http://schemas.openxmlformats.org/officeDocument/2006/relationships/tags" Target="../tags/tag406.xml"/><Relationship Id="rId8" Type="http://schemas.openxmlformats.org/officeDocument/2006/relationships/tags" Target="../tags/tag407.xml"/><Relationship Id="rId33" Type="http://schemas.openxmlformats.org/officeDocument/2006/relationships/tags" Target="../tags/tag432.xml"/><Relationship Id="rId34" Type="http://schemas.openxmlformats.org/officeDocument/2006/relationships/tags" Target="../tags/tag433.xml"/><Relationship Id="rId35" Type="http://schemas.openxmlformats.org/officeDocument/2006/relationships/tags" Target="../tags/tag434.xml"/><Relationship Id="rId36" Type="http://schemas.openxmlformats.org/officeDocument/2006/relationships/tags" Target="../tags/tag435.xml"/><Relationship Id="rId10" Type="http://schemas.openxmlformats.org/officeDocument/2006/relationships/tags" Target="../tags/tag409.xml"/><Relationship Id="rId11" Type="http://schemas.openxmlformats.org/officeDocument/2006/relationships/tags" Target="../tags/tag410.xml"/><Relationship Id="rId12" Type="http://schemas.openxmlformats.org/officeDocument/2006/relationships/tags" Target="../tags/tag411.xml"/><Relationship Id="rId13" Type="http://schemas.openxmlformats.org/officeDocument/2006/relationships/tags" Target="../tags/tag412.xml"/><Relationship Id="rId14" Type="http://schemas.openxmlformats.org/officeDocument/2006/relationships/tags" Target="../tags/tag413.xml"/><Relationship Id="rId15" Type="http://schemas.openxmlformats.org/officeDocument/2006/relationships/tags" Target="../tags/tag414.xml"/><Relationship Id="rId16" Type="http://schemas.openxmlformats.org/officeDocument/2006/relationships/tags" Target="../tags/tag415.xml"/><Relationship Id="rId17" Type="http://schemas.openxmlformats.org/officeDocument/2006/relationships/tags" Target="../tags/tag416.xml"/><Relationship Id="rId18" Type="http://schemas.openxmlformats.org/officeDocument/2006/relationships/tags" Target="../tags/tag417.xml"/><Relationship Id="rId19" Type="http://schemas.openxmlformats.org/officeDocument/2006/relationships/tags" Target="../tags/tag418.xml"/><Relationship Id="rId37" Type="http://schemas.openxmlformats.org/officeDocument/2006/relationships/tags" Target="../tags/tag436.xml"/><Relationship Id="rId38" Type="http://schemas.openxmlformats.org/officeDocument/2006/relationships/tags" Target="../tags/tag437.xml"/><Relationship Id="rId39" Type="http://schemas.openxmlformats.org/officeDocument/2006/relationships/tags" Target="../tags/tag438.xml"/><Relationship Id="rId40" Type="http://schemas.openxmlformats.org/officeDocument/2006/relationships/oleObject" Target="../embeddings/oleObject92.bin"/><Relationship Id="rId41" Type="http://schemas.openxmlformats.org/officeDocument/2006/relationships/image" Target="../media/image1.emf"/><Relationship Id="rId42" Type="http://schemas.openxmlformats.org/officeDocument/2006/relationships/oleObject" Target="../embeddings/oleObject93.bin"/></Relationships>
</file>

<file path=ppt/slideMasters/_rels/slideMaster21.xml.rels><?xml version="1.0" encoding="UTF-8" standalone="yes"?>
<Relationships xmlns="http://schemas.openxmlformats.org/package/2006/relationships"><Relationship Id="rId20" Type="http://schemas.openxmlformats.org/officeDocument/2006/relationships/tags" Target="../tags/tag460.xml"/><Relationship Id="rId21" Type="http://schemas.openxmlformats.org/officeDocument/2006/relationships/tags" Target="../tags/tag461.xml"/><Relationship Id="rId22" Type="http://schemas.openxmlformats.org/officeDocument/2006/relationships/tags" Target="../tags/tag462.xml"/><Relationship Id="rId23" Type="http://schemas.openxmlformats.org/officeDocument/2006/relationships/tags" Target="../tags/tag463.xml"/><Relationship Id="rId24" Type="http://schemas.openxmlformats.org/officeDocument/2006/relationships/tags" Target="../tags/tag464.xml"/><Relationship Id="rId25" Type="http://schemas.openxmlformats.org/officeDocument/2006/relationships/tags" Target="../tags/tag465.xml"/><Relationship Id="rId26" Type="http://schemas.openxmlformats.org/officeDocument/2006/relationships/tags" Target="../tags/tag466.xml"/><Relationship Id="rId27" Type="http://schemas.openxmlformats.org/officeDocument/2006/relationships/tags" Target="../tags/tag467.xml"/><Relationship Id="rId28" Type="http://schemas.openxmlformats.org/officeDocument/2006/relationships/tags" Target="../tags/tag468.xml"/><Relationship Id="rId29" Type="http://schemas.openxmlformats.org/officeDocument/2006/relationships/tags" Target="../tags/tag469.xml"/><Relationship Id="rId1" Type="http://schemas.openxmlformats.org/officeDocument/2006/relationships/slideLayout" Target="../slideLayouts/slideLayout76.xml"/><Relationship Id="rId2" Type="http://schemas.openxmlformats.org/officeDocument/2006/relationships/slideLayout" Target="../slideLayouts/slideLayout77.xml"/><Relationship Id="rId3" Type="http://schemas.openxmlformats.org/officeDocument/2006/relationships/slideLayout" Target="../slideLayouts/slideLayout78.xml"/><Relationship Id="rId4" Type="http://schemas.openxmlformats.org/officeDocument/2006/relationships/theme" Target="../theme/theme21.xml"/><Relationship Id="rId5" Type="http://schemas.openxmlformats.org/officeDocument/2006/relationships/vmlDrawing" Target="../drawings/vmlDrawing96.vml"/><Relationship Id="rId30" Type="http://schemas.openxmlformats.org/officeDocument/2006/relationships/tags" Target="../tags/tag470.xml"/><Relationship Id="rId31" Type="http://schemas.openxmlformats.org/officeDocument/2006/relationships/tags" Target="../tags/tag471.xml"/><Relationship Id="rId32" Type="http://schemas.openxmlformats.org/officeDocument/2006/relationships/tags" Target="../tags/tag472.xml"/><Relationship Id="rId9" Type="http://schemas.openxmlformats.org/officeDocument/2006/relationships/tags" Target="../tags/tag449.xml"/><Relationship Id="rId6" Type="http://schemas.openxmlformats.org/officeDocument/2006/relationships/tags" Target="../tags/tag446.xml"/><Relationship Id="rId7" Type="http://schemas.openxmlformats.org/officeDocument/2006/relationships/tags" Target="../tags/tag447.xml"/><Relationship Id="rId8" Type="http://schemas.openxmlformats.org/officeDocument/2006/relationships/tags" Target="../tags/tag448.xml"/><Relationship Id="rId33" Type="http://schemas.openxmlformats.org/officeDocument/2006/relationships/tags" Target="../tags/tag473.xml"/><Relationship Id="rId34" Type="http://schemas.openxmlformats.org/officeDocument/2006/relationships/tags" Target="../tags/tag474.xml"/><Relationship Id="rId35" Type="http://schemas.openxmlformats.org/officeDocument/2006/relationships/tags" Target="../tags/tag475.xml"/><Relationship Id="rId36" Type="http://schemas.openxmlformats.org/officeDocument/2006/relationships/tags" Target="../tags/tag476.xml"/><Relationship Id="rId10" Type="http://schemas.openxmlformats.org/officeDocument/2006/relationships/tags" Target="../tags/tag450.xml"/><Relationship Id="rId11" Type="http://schemas.openxmlformats.org/officeDocument/2006/relationships/tags" Target="../tags/tag451.xml"/><Relationship Id="rId12" Type="http://schemas.openxmlformats.org/officeDocument/2006/relationships/tags" Target="../tags/tag452.xml"/><Relationship Id="rId13" Type="http://schemas.openxmlformats.org/officeDocument/2006/relationships/tags" Target="../tags/tag453.xml"/><Relationship Id="rId14" Type="http://schemas.openxmlformats.org/officeDocument/2006/relationships/tags" Target="../tags/tag454.xml"/><Relationship Id="rId15" Type="http://schemas.openxmlformats.org/officeDocument/2006/relationships/tags" Target="../tags/tag455.xml"/><Relationship Id="rId16" Type="http://schemas.openxmlformats.org/officeDocument/2006/relationships/tags" Target="../tags/tag456.xml"/><Relationship Id="rId17" Type="http://schemas.openxmlformats.org/officeDocument/2006/relationships/tags" Target="../tags/tag457.xml"/><Relationship Id="rId18" Type="http://schemas.openxmlformats.org/officeDocument/2006/relationships/tags" Target="../tags/tag458.xml"/><Relationship Id="rId19" Type="http://schemas.openxmlformats.org/officeDocument/2006/relationships/tags" Target="../tags/tag459.xml"/><Relationship Id="rId37" Type="http://schemas.openxmlformats.org/officeDocument/2006/relationships/tags" Target="../tags/tag477.xml"/><Relationship Id="rId38" Type="http://schemas.openxmlformats.org/officeDocument/2006/relationships/oleObject" Target="../embeddings/oleObject97.bin"/><Relationship Id="rId39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9" Type="http://schemas.openxmlformats.org/officeDocument/2006/relationships/tags" Target="../tags/tag47.xml"/><Relationship Id="rId20" Type="http://schemas.openxmlformats.org/officeDocument/2006/relationships/tags" Target="../tags/tag58.xml"/><Relationship Id="rId21" Type="http://schemas.openxmlformats.org/officeDocument/2006/relationships/tags" Target="../tags/tag59.xml"/><Relationship Id="rId22" Type="http://schemas.openxmlformats.org/officeDocument/2006/relationships/tags" Target="../tags/tag60.xml"/><Relationship Id="rId23" Type="http://schemas.openxmlformats.org/officeDocument/2006/relationships/tags" Target="../tags/tag61.xml"/><Relationship Id="rId24" Type="http://schemas.openxmlformats.org/officeDocument/2006/relationships/oleObject" Target="../embeddings/oleObject10.bin"/><Relationship Id="rId25" Type="http://schemas.openxmlformats.org/officeDocument/2006/relationships/image" Target="../media/image1.emf"/><Relationship Id="rId10" Type="http://schemas.openxmlformats.org/officeDocument/2006/relationships/tags" Target="../tags/tag48.xml"/><Relationship Id="rId11" Type="http://schemas.openxmlformats.org/officeDocument/2006/relationships/tags" Target="../tags/tag49.xml"/><Relationship Id="rId12" Type="http://schemas.openxmlformats.org/officeDocument/2006/relationships/tags" Target="../tags/tag50.xml"/><Relationship Id="rId13" Type="http://schemas.openxmlformats.org/officeDocument/2006/relationships/tags" Target="../tags/tag51.xml"/><Relationship Id="rId14" Type="http://schemas.openxmlformats.org/officeDocument/2006/relationships/tags" Target="../tags/tag52.xml"/><Relationship Id="rId15" Type="http://schemas.openxmlformats.org/officeDocument/2006/relationships/tags" Target="../tags/tag53.xml"/><Relationship Id="rId16" Type="http://schemas.openxmlformats.org/officeDocument/2006/relationships/tags" Target="../tags/tag54.xml"/><Relationship Id="rId17" Type="http://schemas.openxmlformats.org/officeDocument/2006/relationships/tags" Target="../tags/tag55.xml"/><Relationship Id="rId18" Type="http://schemas.openxmlformats.org/officeDocument/2006/relationships/tags" Target="../tags/tag56.xml"/><Relationship Id="rId19" Type="http://schemas.openxmlformats.org/officeDocument/2006/relationships/tags" Target="../tags/tag57.xml"/><Relationship Id="rId1" Type="http://schemas.openxmlformats.org/officeDocument/2006/relationships/slideLayout" Target="../slideLayouts/slideLayout8.xml"/><Relationship Id="rId2" Type="http://schemas.openxmlformats.org/officeDocument/2006/relationships/slideLayout" Target="../slideLayouts/slideLayout9.xml"/><Relationship Id="rId3" Type="http://schemas.openxmlformats.org/officeDocument/2006/relationships/slideLayout" Target="../slideLayouts/slideLayout10.xml"/><Relationship Id="rId4" Type="http://schemas.openxmlformats.org/officeDocument/2006/relationships/slideLayout" Target="../slideLayouts/slideLayout11.xml"/><Relationship Id="rId5" Type="http://schemas.openxmlformats.org/officeDocument/2006/relationships/theme" Target="../theme/theme3.xml"/><Relationship Id="rId6" Type="http://schemas.openxmlformats.org/officeDocument/2006/relationships/vmlDrawing" Target="../drawings/vmlDrawing10.vml"/><Relationship Id="rId7" Type="http://schemas.openxmlformats.org/officeDocument/2006/relationships/tags" Target="../tags/tag45.xml"/><Relationship Id="rId8" Type="http://schemas.openxmlformats.org/officeDocument/2006/relationships/tags" Target="../tags/tag46.xml"/></Relationships>
</file>

<file path=ppt/slideMasters/_rels/slideMaster4.xml.rels><?xml version="1.0" encoding="UTF-8" standalone="yes"?>
<Relationships xmlns="http://schemas.openxmlformats.org/package/2006/relationships"><Relationship Id="rId9" Type="http://schemas.openxmlformats.org/officeDocument/2006/relationships/tags" Target="../tags/tag70.xml"/><Relationship Id="rId20" Type="http://schemas.openxmlformats.org/officeDocument/2006/relationships/tags" Target="../tags/tag81.xml"/><Relationship Id="rId21" Type="http://schemas.openxmlformats.org/officeDocument/2006/relationships/tags" Target="../tags/tag82.xml"/><Relationship Id="rId22" Type="http://schemas.openxmlformats.org/officeDocument/2006/relationships/tags" Target="../tags/tag83.xml"/><Relationship Id="rId23" Type="http://schemas.openxmlformats.org/officeDocument/2006/relationships/tags" Target="../tags/tag84.xml"/><Relationship Id="rId24" Type="http://schemas.openxmlformats.org/officeDocument/2006/relationships/oleObject" Target="../embeddings/oleObject15.bin"/><Relationship Id="rId25" Type="http://schemas.openxmlformats.org/officeDocument/2006/relationships/image" Target="../media/image1.emf"/><Relationship Id="rId10" Type="http://schemas.openxmlformats.org/officeDocument/2006/relationships/tags" Target="../tags/tag71.xml"/><Relationship Id="rId11" Type="http://schemas.openxmlformats.org/officeDocument/2006/relationships/tags" Target="../tags/tag72.xml"/><Relationship Id="rId12" Type="http://schemas.openxmlformats.org/officeDocument/2006/relationships/tags" Target="../tags/tag73.xml"/><Relationship Id="rId13" Type="http://schemas.openxmlformats.org/officeDocument/2006/relationships/tags" Target="../tags/tag74.xml"/><Relationship Id="rId14" Type="http://schemas.openxmlformats.org/officeDocument/2006/relationships/tags" Target="../tags/tag75.xml"/><Relationship Id="rId15" Type="http://schemas.openxmlformats.org/officeDocument/2006/relationships/tags" Target="../tags/tag76.xml"/><Relationship Id="rId16" Type="http://schemas.openxmlformats.org/officeDocument/2006/relationships/tags" Target="../tags/tag77.xml"/><Relationship Id="rId17" Type="http://schemas.openxmlformats.org/officeDocument/2006/relationships/tags" Target="../tags/tag78.xml"/><Relationship Id="rId18" Type="http://schemas.openxmlformats.org/officeDocument/2006/relationships/tags" Target="../tags/tag79.xml"/><Relationship Id="rId19" Type="http://schemas.openxmlformats.org/officeDocument/2006/relationships/tags" Target="../tags/tag80.xml"/><Relationship Id="rId1" Type="http://schemas.openxmlformats.org/officeDocument/2006/relationships/slideLayout" Target="../slideLayouts/slideLayout12.xml"/><Relationship Id="rId2" Type="http://schemas.openxmlformats.org/officeDocument/2006/relationships/slideLayout" Target="../slideLayouts/slideLayout13.xml"/><Relationship Id="rId3" Type="http://schemas.openxmlformats.org/officeDocument/2006/relationships/slideLayout" Target="../slideLayouts/slideLayout14.xml"/><Relationship Id="rId4" Type="http://schemas.openxmlformats.org/officeDocument/2006/relationships/slideLayout" Target="../slideLayouts/slideLayout15.xml"/><Relationship Id="rId5" Type="http://schemas.openxmlformats.org/officeDocument/2006/relationships/theme" Target="../theme/theme4.xml"/><Relationship Id="rId6" Type="http://schemas.openxmlformats.org/officeDocument/2006/relationships/vmlDrawing" Target="../drawings/vmlDrawing15.vml"/><Relationship Id="rId7" Type="http://schemas.openxmlformats.org/officeDocument/2006/relationships/tags" Target="../tags/tag68.xml"/><Relationship Id="rId8" Type="http://schemas.openxmlformats.org/officeDocument/2006/relationships/tags" Target="../tags/tag69.xml"/></Relationships>
</file>

<file path=ppt/slideMasters/_rels/slideMaster5.xml.rels><?xml version="1.0" encoding="UTF-8" standalone="yes"?>
<Relationships xmlns="http://schemas.openxmlformats.org/package/2006/relationships"><Relationship Id="rId9" Type="http://schemas.openxmlformats.org/officeDocument/2006/relationships/tags" Target="../tags/tag92.xml"/><Relationship Id="rId20" Type="http://schemas.openxmlformats.org/officeDocument/2006/relationships/tags" Target="../tags/tag103.xml"/><Relationship Id="rId21" Type="http://schemas.openxmlformats.org/officeDocument/2006/relationships/tags" Target="../tags/tag104.xml"/><Relationship Id="rId22" Type="http://schemas.openxmlformats.org/officeDocument/2006/relationships/tags" Target="../tags/tag105.xml"/><Relationship Id="rId23" Type="http://schemas.openxmlformats.org/officeDocument/2006/relationships/oleObject" Target="../embeddings/oleObject20.bin"/><Relationship Id="rId24" Type="http://schemas.openxmlformats.org/officeDocument/2006/relationships/image" Target="../media/image1.emf"/><Relationship Id="rId10" Type="http://schemas.openxmlformats.org/officeDocument/2006/relationships/tags" Target="../tags/tag93.xml"/><Relationship Id="rId11" Type="http://schemas.openxmlformats.org/officeDocument/2006/relationships/tags" Target="../tags/tag94.xml"/><Relationship Id="rId12" Type="http://schemas.openxmlformats.org/officeDocument/2006/relationships/tags" Target="../tags/tag95.xml"/><Relationship Id="rId13" Type="http://schemas.openxmlformats.org/officeDocument/2006/relationships/tags" Target="../tags/tag96.xml"/><Relationship Id="rId14" Type="http://schemas.openxmlformats.org/officeDocument/2006/relationships/tags" Target="../tags/tag97.xml"/><Relationship Id="rId15" Type="http://schemas.openxmlformats.org/officeDocument/2006/relationships/tags" Target="../tags/tag98.xml"/><Relationship Id="rId16" Type="http://schemas.openxmlformats.org/officeDocument/2006/relationships/tags" Target="../tags/tag99.xml"/><Relationship Id="rId17" Type="http://schemas.openxmlformats.org/officeDocument/2006/relationships/tags" Target="../tags/tag100.xml"/><Relationship Id="rId18" Type="http://schemas.openxmlformats.org/officeDocument/2006/relationships/tags" Target="../tags/tag101.xml"/><Relationship Id="rId19" Type="http://schemas.openxmlformats.org/officeDocument/2006/relationships/tags" Target="../tags/tag102.xml"/><Relationship Id="rId1" Type="http://schemas.openxmlformats.org/officeDocument/2006/relationships/slideLayout" Target="../slideLayouts/slideLayout16.xml"/><Relationship Id="rId2" Type="http://schemas.openxmlformats.org/officeDocument/2006/relationships/slideLayout" Target="../slideLayouts/slideLayout17.xml"/><Relationship Id="rId3" Type="http://schemas.openxmlformats.org/officeDocument/2006/relationships/slideLayout" Target="../slideLayouts/slideLayout18.xml"/><Relationship Id="rId4" Type="http://schemas.openxmlformats.org/officeDocument/2006/relationships/theme" Target="../theme/theme5.xml"/><Relationship Id="rId5" Type="http://schemas.openxmlformats.org/officeDocument/2006/relationships/vmlDrawing" Target="../drawings/vmlDrawing20.vml"/><Relationship Id="rId6" Type="http://schemas.openxmlformats.org/officeDocument/2006/relationships/tags" Target="../tags/tag89.xml"/><Relationship Id="rId7" Type="http://schemas.openxmlformats.org/officeDocument/2006/relationships/tags" Target="../tags/tag90.xml"/><Relationship Id="rId8" Type="http://schemas.openxmlformats.org/officeDocument/2006/relationships/tags" Target="../tags/tag91.xml"/></Relationships>
</file>

<file path=ppt/slideMasters/_rels/slideMaster6.xml.rels><?xml version="1.0" encoding="UTF-8" standalone="yes"?>
<Relationships xmlns="http://schemas.openxmlformats.org/package/2006/relationships"><Relationship Id="rId9" Type="http://schemas.openxmlformats.org/officeDocument/2006/relationships/tags" Target="../tags/tag113.xml"/><Relationship Id="rId20" Type="http://schemas.openxmlformats.org/officeDocument/2006/relationships/tags" Target="../tags/tag124.xml"/><Relationship Id="rId21" Type="http://schemas.openxmlformats.org/officeDocument/2006/relationships/tags" Target="../tags/tag125.xml"/><Relationship Id="rId22" Type="http://schemas.openxmlformats.org/officeDocument/2006/relationships/tags" Target="../tags/tag126.xml"/><Relationship Id="rId23" Type="http://schemas.openxmlformats.org/officeDocument/2006/relationships/tags" Target="../tags/tag127.xml"/><Relationship Id="rId24" Type="http://schemas.openxmlformats.org/officeDocument/2006/relationships/oleObject" Target="../embeddings/oleObject24.bin"/><Relationship Id="rId25" Type="http://schemas.openxmlformats.org/officeDocument/2006/relationships/image" Target="../media/image1.emf"/><Relationship Id="rId10" Type="http://schemas.openxmlformats.org/officeDocument/2006/relationships/tags" Target="../tags/tag114.xml"/><Relationship Id="rId11" Type="http://schemas.openxmlformats.org/officeDocument/2006/relationships/tags" Target="../tags/tag115.xml"/><Relationship Id="rId12" Type="http://schemas.openxmlformats.org/officeDocument/2006/relationships/tags" Target="../tags/tag116.xml"/><Relationship Id="rId13" Type="http://schemas.openxmlformats.org/officeDocument/2006/relationships/tags" Target="../tags/tag117.xml"/><Relationship Id="rId14" Type="http://schemas.openxmlformats.org/officeDocument/2006/relationships/tags" Target="../tags/tag118.xml"/><Relationship Id="rId15" Type="http://schemas.openxmlformats.org/officeDocument/2006/relationships/tags" Target="../tags/tag119.xml"/><Relationship Id="rId16" Type="http://schemas.openxmlformats.org/officeDocument/2006/relationships/tags" Target="../tags/tag120.xml"/><Relationship Id="rId17" Type="http://schemas.openxmlformats.org/officeDocument/2006/relationships/tags" Target="../tags/tag121.xml"/><Relationship Id="rId18" Type="http://schemas.openxmlformats.org/officeDocument/2006/relationships/tags" Target="../tags/tag122.xml"/><Relationship Id="rId19" Type="http://schemas.openxmlformats.org/officeDocument/2006/relationships/tags" Target="../tags/tag123.xml"/><Relationship Id="rId1" Type="http://schemas.openxmlformats.org/officeDocument/2006/relationships/slideLayout" Target="../slideLayouts/slideLayout19.xml"/><Relationship Id="rId2" Type="http://schemas.openxmlformats.org/officeDocument/2006/relationships/slideLayout" Target="../slideLayouts/slideLayout20.xml"/><Relationship Id="rId3" Type="http://schemas.openxmlformats.org/officeDocument/2006/relationships/slideLayout" Target="../slideLayouts/slideLayout21.xml"/><Relationship Id="rId4" Type="http://schemas.openxmlformats.org/officeDocument/2006/relationships/slideLayout" Target="../slideLayouts/slideLayout22.xml"/><Relationship Id="rId5" Type="http://schemas.openxmlformats.org/officeDocument/2006/relationships/theme" Target="../theme/theme6.xml"/><Relationship Id="rId6" Type="http://schemas.openxmlformats.org/officeDocument/2006/relationships/vmlDrawing" Target="../drawings/vmlDrawing24.vml"/><Relationship Id="rId7" Type="http://schemas.openxmlformats.org/officeDocument/2006/relationships/tags" Target="../tags/tag111.xml"/><Relationship Id="rId8" Type="http://schemas.openxmlformats.org/officeDocument/2006/relationships/tags" Target="../tags/tag112.xml"/></Relationships>
</file>

<file path=ppt/slideMasters/_rels/slideMaster7.xml.rels><?xml version="1.0" encoding="UTF-8" standalone="yes"?>
<Relationships xmlns="http://schemas.openxmlformats.org/package/2006/relationships"><Relationship Id="rId9" Type="http://schemas.openxmlformats.org/officeDocument/2006/relationships/tags" Target="../tags/tag135.xml"/><Relationship Id="rId20" Type="http://schemas.openxmlformats.org/officeDocument/2006/relationships/tags" Target="../tags/tag146.xml"/><Relationship Id="rId21" Type="http://schemas.openxmlformats.org/officeDocument/2006/relationships/tags" Target="../tags/tag147.xml"/><Relationship Id="rId22" Type="http://schemas.openxmlformats.org/officeDocument/2006/relationships/tags" Target="../tags/tag148.xml"/><Relationship Id="rId23" Type="http://schemas.openxmlformats.org/officeDocument/2006/relationships/oleObject" Target="../embeddings/oleObject29.bin"/><Relationship Id="rId24" Type="http://schemas.openxmlformats.org/officeDocument/2006/relationships/image" Target="../media/image1.emf"/><Relationship Id="rId10" Type="http://schemas.openxmlformats.org/officeDocument/2006/relationships/tags" Target="../tags/tag136.xml"/><Relationship Id="rId11" Type="http://schemas.openxmlformats.org/officeDocument/2006/relationships/tags" Target="../tags/tag137.xml"/><Relationship Id="rId12" Type="http://schemas.openxmlformats.org/officeDocument/2006/relationships/tags" Target="../tags/tag138.xml"/><Relationship Id="rId13" Type="http://schemas.openxmlformats.org/officeDocument/2006/relationships/tags" Target="../tags/tag139.xml"/><Relationship Id="rId14" Type="http://schemas.openxmlformats.org/officeDocument/2006/relationships/tags" Target="../tags/tag140.xml"/><Relationship Id="rId15" Type="http://schemas.openxmlformats.org/officeDocument/2006/relationships/tags" Target="../tags/tag141.xml"/><Relationship Id="rId16" Type="http://schemas.openxmlformats.org/officeDocument/2006/relationships/tags" Target="../tags/tag142.xml"/><Relationship Id="rId17" Type="http://schemas.openxmlformats.org/officeDocument/2006/relationships/tags" Target="../tags/tag143.xml"/><Relationship Id="rId18" Type="http://schemas.openxmlformats.org/officeDocument/2006/relationships/tags" Target="../tags/tag144.xml"/><Relationship Id="rId19" Type="http://schemas.openxmlformats.org/officeDocument/2006/relationships/tags" Target="../tags/tag145.xml"/><Relationship Id="rId1" Type="http://schemas.openxmlformats.org/officeDocument/2006/relationships/slideLayout" Target="../slideLayouts/slideLayout23.xml"/><Relationship Id="rId2" Type="http://schemas.openxmlformats.org/officeDocument/2006/relationships/slideLayout" Target="../slideLayouts/slideLayout24.xml"/><Relationship Id="rId3" Type="http://schemas.openxmlformats.org/officeDocument/2006/relationships/slideLayout" Target="../slideLayouts/slideLayout25.xml"/><Relationship Id="rId4" Type="http://schemas.openxmlformats.org/officeDocument/2006/relationships/theme" Target="../theme/theme7.xml"/><Relationship Id="rId5" Type="http://schemas.openxmlformats.org/officeDocument/2006/relationships/vmlDrawing" Target="../drawings/vmlDrawing29.vml"/><Relationship Id="rId6" Type="http://schemas.openxmlformats.org/officeDocument/2006/relationships/tags" Target="../tags/tag132.xml"/><Relationship Id="rId7" Type="http://schemas.openxmlformats.org/officeDocument/2006/relationships/tags" Target="../tags/tag133.xml"/><Relationship Id="rId8" Type="http://schemas.openxmlformats.org/officeDocument/2006/relationships/tags" Target="../tags/tag134.xml"/></Relationships>
</file>

<file path=ppt/slideMasters/_rels/slideMaster8.xml.rels><?xml version="1.0" encoding="UTF-8" standalone="yes"?>
<Relationships xmlns="http://schemas.openxmlformats.org/package/2006/relationships"><Relationship Id="rId9" Type="http://schemas.openxmlformats.org/officeDocument/2006/relationships/tags" Target="../tags/tag156.xml"/><Relationship Id="rId20" Type="http://schemas.openxmlformats.org/officeDocument/2006/relationships/tags" Target="../tags/tag167.xml"/><Relationship Id="rId21" Type="http://schemas.openxmlformats.org/officeDocument/2006/relationships/tags" Target="../tags/tag168.xml"/><Relationship Id="rId22" Type="http://schemas.openxmlformats.org/officeDocument/2006/relationships/tags" Target="../tags/tag169.xml"/><Relationship Id="rId23" Type="http://schemas.openxmlformats.org/officeDocument/2006/relationships/tags" Target="../tags/tag170.xml"/><Relationship Id="rId24" Type="http://schemas.openxmlformats.org/officeDocument/2006/relationships/oleObject" Target="../embeddings/oleObject33.bin"/><Relationship Id="rId25" Type="http://schemas.openxmlformats.org/officeDocument/2006/relationships/image" Target="../media/image1.emf"/><Relationship Id="rId10" Type="http://schemas.openxmlformats.org/officeDocument/2006/relationships/tags" Target="../tags/tag157.xml"/><Relationship Id="rId11" Type="http://schemas.openxmlformats.org/officeDocument/2006/relationships/tags" Target="../tags/tag158.xml"/><Relationship Id="rId12" Type="http://schemas.openxmlformats.org/officeDocument/2006/relationships/tags" Target="../tags/tag159.xml"/><Relationship Id="rId13" Type="http://schemas.openxmlformats.org/officeDocument/2006/relationships/tags" Target="../tags/tag160.xml"/><Relationship Id="rId14" Type="http://schemas.openxmlformats.org/officeDocument/2006/relationships/tags" Target="../tags/tag161.xml"/><Relationship Id="rId15" Type="http://schemas.openxmlformats.org/officeDocument/2006/relationships/tags" Target="../tags/tag162.xml"/><Relationship Id="rId16" Type="http://schemas.openxmlformats.org/officeDocument/2006/relationships/tags" Target="../tags/tag163.xml"/><Relationship Id="rId17" Type="http://schemas.openxmlformats.org/officeDocument/2006/relationships/tags" Target="../tags/tag164.xml"/><Relationship Id="rId18" Type="http://schemas.openxmlformats.org/officeDocument/2006/relationships/tags" Target="../tags/tag165.xml"/><Relationship Id="rId19" Type="http://schemas.openxmlformats.org/officeDocument/2006/relationships/tags" Target="../tags/tag166.xml"/><Relationship Id="rId1" Type="http://schemas.openxmlformats.org/officeDocument/2006/relationships/slideLayout" Target="../slideLayouts/slideLayout26.xml"/><Relationship Id="rId2" Type="http://schemas.openxmlformats.org/officeDocument/2006/relationships/slideLayout" Target="../slideLayouts/slideLayout27.xml"/><Relationship Id="rId3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9.xml"/><Relationship Id="rId5" Type="http://schemas.openxmlformats.org/officeDocument/2006/relationships/theme" Target="../theme/theme8.xml"/><Relationship Id="rId6" Type="http://schemas.openxmlformats.org/officeDocument/2006/relationships/vmlDrawing" Target="../drawings/vmlDrawing33.vml"/><Relationship Id="rId7" Type="http://schemas.openxmlformats.org/officeDocument/2006/relationships/tags" Target="../tags/tag154.xml"/><Relationship Id="rId8" Type="http://schemas.openxmlformats.org/officeDocument/2006/relationships/tags" Target="../tags/tag155.xml"/></Relationships>
</file>

<file path=ppt/slideMasters/_rels/slideMaster9.xml.rels><?xml version="1.0" encoding="UTF-8" standalone="yes"?>
<Relationships xmlns="http://schemas.openxmlformats.org/package/2006/relationships"><Relationship Id="rId9" Type="http://schemas.openxmlformats.org/officeDocument/2006/relationships/tags" Target="../tags/tag177.xml"/><Relationship Id="rId20" Type="http://schemas.openxmlformats.org/officeDocument/2006/relationships/tags" Target="../tags/tag188.xml"/><Relationship Id="rId21" Type="http://schemas.openxmlformats.org/officeDocument/2006/relationships/tags" Target="../tags/tag189.xml"/><Relationship Id="rId22" Type="http://schemas.openxmlformats.org/officeDocument/2006/relationships/tags" Target="../tags/tag190.xml"/><Relationship Id="rId23" Type="http://schemas.openxmlformats.org/officeDocument/2006/relationships/tags" Target="../tags/tag191.xml"/><Relationship Id="rId24" Type="http://schemas.openxmlformats.org/officeDocument/2006/relationships/oleObject" Target="../embeddings/oleObject38.bin"/><Relationship Id="rId25" Type="http://schemas.openxmlformats.org/officeDocument/2006/relationships/image" Target="../media/image1.emf"/><Relationship Id="rId10" Type="http://schemas.openxmlformats.org/officeDocument/2006/relationships/tags" Target="../tags/tag178.xml"/><Relationship Id="rId11" Type="http://schemas.openxmlformats.org/officeDocument/2006/relationships/tags" Target="../tags/tag179.xml"/><Relationship Id="rId12" Type="http://schemas.openxmlformats.org/officeDocument/2006/relationships/tags" Target="../tags/tag180.xml"/><Relationship Id="rId13" Type="http://schemas.openxmlformats.org/officeDocument/2006/relationships/tags" Target="../tags/tag181.xml"/><Relationship Id="rId14" Type="http://schemas.openxmlformats.org/officeDocument/2006/relationships/tags" Target="../tags/tag182.xml"/><Relationship Id="rId15" Type="http://schemas.openxmlformats.org/officeDocument/2006/relationships/tags" Target="../tags/tag183.xml"/><Relationship Id="rId16" Type="http://schemas.openxmlformats.org/officeDocument/2006/relationships/tags" Target="../tags/tag184.xml"/><Relationship Id="rId17" Type="http://schemas.openxmlformats.org/officeDocument/2006/relationships/tags" Target="../tags/tag185.xml"/><Relationship Id="rId18" Type="http://schemas.openxmlformats.org/officeDocument/2006/relationships/tags" Target="../tags/tag186.xml"/><Relationship Id="rId19" Type="http://schemas.openxmlformats.org/officeDocument/2006/relationships/tags" Target="../tags/tag187.xml"/><Relationship Id="rId1" Type="http://schemas.openxmlformats.org/officeDocument/2006/relationships/slideLayout" Target="../slideLayouts/slideLayout30.xml"/><Relationship Id="rId2" Type="http://schemas.openxmlformats.org/officeDocument/2006/relationships/slideLayout" Target="../slideLayouts/slideLayout31.xml"/><Relationship Id="rId3" Type="http://schemas.openxmlformats.org/officeDocument/2006/relationships/slideLayout" Target="../slideLayouts/slideLayout32.xml"/><Relationship Id="rId4" Type="http://schemas.openxmlformats.org/officeDocument/2006/relationships/slideLayout" Target="../slideLayouts/slideLayout33.xml"/><Relationship Id="rId5" Type="http://schemas.openxmlformats.org/officeDocument/2006/relationships/theme" Target="../theme/theme9.xml"/><Relationship Id="rId6" Type="http://schemas.openxmlformats.org/officeDocument/2006/relationships/vmlDrawing" Target="../drawings/vmlDrawing38.vml"/><Relationship Id="rId7" Type="http://schemas.openxmlformats.org/officeDocument/2006/relationships/tags" Target="../tags/tag175.xml"/><Relationship Id="rId8" Type="http://schemas.openxmlformats.org/officeDocument/2006/relationships/tags" Target="../tags/tag17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970365452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5026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887761" y="1940592"/>
            <a:ext cx="19364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3/2018 12:17 P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6" r:id="rId3"/>
    <p:sldLayoutId id="2147483701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166103955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4963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887761" y="1940592"/>
            <a:ext cx="19364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3/2018 12:17 P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3966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742" r:id="rId3"/>
    <p:sldLayoutId id="2147483743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629603467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107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887761" y="1940592"/>
            <a:ext cx="19364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3/2018 12:17 P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34574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47" r:id="rId3"/>
    <p:sldLayoutId id="2147483748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352036809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250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887761" y="1940592"/>
            <a:ext cx="19364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3/2018 12:17 P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42188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0" r:id="rId1"/>
    <p:sldLayoutId id="2147483751" r:id="rId2"/>
    <p:sldLayoutId id="2147483752" r:id="rId3"/>
    <p:sldLayoutId id="2147483753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3390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887761" y="1940592"/>
            <a:ext cx="19364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3/2018 12:17 P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2292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5" r:id="rId1"/>
    <p:sldLayoutId id="2147483756" r:id="rId2"/>
    <p:sldLayoutId id="2147483757" r:id="rId3"/>
    <p:sldLayoutId id="2147483758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3604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887761" y="1940592"/>
            <a:ext cx="19364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3/2018 12:17 P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87962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0" r:id="rId1"/>
    <p:sldLayoutId id="2147483761" r:id="rId2"/>
    <p:sldLayoutId id="2147483762" r:id="rId3"/>
    <p:sldLayoutId id="2147483763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792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887761" y="1940592"/>
            <a:ext cx="19364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3/2018 12:17 P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64718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5" r:id="rId1"/>
    <p:sldLayoutId id="2147483766" r:id="rId2"/>
    <p:sldLayoutId id="2147483767" r:id="rId3"/>
    <p:sldLayoutId id="2147483768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6052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887761" y="1940592"/>
            <a:ext cx="19364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3/2018 12:17 P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34633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0" r:id="rId1"/>
    <p:sldLayoutId id="2147483771" r:id="rId2"/>
    <p:sldLayoutId id="2147483772" r:id="rId3"/>
    <p:sldLayoutId id="2147483773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172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887761" y="1940592"/>
            <a:ext cx="19364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3/2018 12:17 P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8223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5" r:id="rId1"/>
    <p:sldLayoutId id="2147483776" r:id="rId2"/>
    <p:sldLayoutId id="2147483777" r:id="rId3"/>
    <p:sldLayoutId id="2147483778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763036694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7539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887761" y="1940592"/>
            <a:ext cx="19364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3/2018 12:17 P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61458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0" r:id="rId1"/>
    <p:sldLayoutId id="2147483781" r:id="rId2"/>
    <p:sldLayoutId id="2147483782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7731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887761" y="1940592"/>
            <a:ext cx="19364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3/2018 12:17 P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38535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4" r:id="rId1"/>
    <p:sldLayoutId id="2147483785" r:id="rId2"/>
    <p:sldLayoutId id="2147483786" r:id="rId3"/>
    <p:sldLayoutId id="2147483787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239440010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2614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35565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705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037962678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40" imgW="270" imgH="270" progId="TCLayout.ActiveDocument.1">
                  <p:embed/>
                </p:oleObj>
              </mc:Choice>
              <mc:Fallback>
                <p:oleObj name="think-cell Slide" r:id="rId4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733346" y="4114418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38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39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graphicFrame>
        <p:nvGraphicFramePr>
          <p:cNvPr id="62" name="Object 61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025583101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42" imgW="270" imgH="270" progId="TCLayout.ActiveDocument.1">
                  <p:embed/>
                </p:oleObj>
              </mc:Choice>
              <mc:Fallback>
                <p:oleObj name="think-cell Slide" r:id="rId4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3" name="Rectangle 62" hidden="1"/>
          <p:cNvSpPr/>
          <p:nvPr userDrawn="1">
            <p:custDataLst>
              <p:tags r:id="rId9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64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65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66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67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6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69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7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7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7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7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7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7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7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7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8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8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8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8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8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8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90" name="MoonLegend1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108" name="Oval 38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9" name="Arc 39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91" name="MoonLegend2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106" name="Oval 4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7" name="Arc 42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92" name="MoonLegend4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104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5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93" name="MoonLegend5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102" name="Oval 50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3" name="Oval 5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94" name="MoonLegend3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100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1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9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11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111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20431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9" r:id="rId1"/>
    <p:sldLayoutId id="2147483790" r:id="rId2"/>
    <p:sldLayoutId id="2147483791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>
            <a:alpha val="3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1633" name="think-cell Slide" r:id="rId38" imgW="270" imgH="270" progId="TCLayout.ActiveDocument.1">
                  <p:embed/>
                </p:oleObj>
              </mc:Choice>
              <mc:Fallback>
                <p:oleObj name="think-cell Slide" r:id="rId3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133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733346" y="4114418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00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/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36839" y="1951380"/>
            <a:ext cx="3602114" cy="12311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61" name="doc id" hidden="1"/>
          <p:cNvSpPr>
            <a:spLocks noChangeArrowheads="1"/>
          </p:cNvSpPr>
          <p:nvPr/>
        </p:nvSpPr>
        <p:spPr bwMode="auto">
          <a:xfrm>
            <a:off x="10238704" y="50801"/>
            <a:ext cx="14111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  <p:grpSp>
        <p:nvGrpSpPr>
          <p:cNvPr id="63" name="LegendBoxes" hidden="1"/>
          <p:cNvGrpSpPr/>
          <p:nvPr/>
        </p:nvGrpSpPr>
        <p:grpSpPr bwMode="gray">
          <a:xfrm>
            <a:off x="10838127" y="431800"/>
            <a:ext cx="763755" cy="997467"/>
            <a:chOff x="7835905" y="279400"/>
            <a:chExt cx="763755" cy="997467"/>
          </a:xfrm>
        </p:grpSpPr>
        <p:sp>
          <p:nvSpPr>
            <p:cNvPr id="6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6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2" name="LegendLines" hidden="1"/>
          <p:cNvGrpSpPr/>
          <p:nvPr/>
        </p:nvGrpSpPr>
        <p:grpSpPr bwMode="gray">
          <a:xfrm>
            <a:off x="10530319" y="431800"/>
            <a:ext cx="1071563" cy="730251"/>
            <a:chOff x="7540629" y="279400"/>
            <a:chExt cx="1071563" cy="730251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9" name="LegendMoons" hidden="1"/>
          <p:cNvGrpSpPr/>
          <p:nvPr/>
        </p:nvGrpSpPr>
        <p:grpSpPr bwMode="gray">
          <a:xfrm>
            <a:off x="10771452" y="403225"/>
            <a:ext cx="830430" cy="1306516"/>
            <a:chOff x="7769225" y="250825"/>
            <a:chExt cx="830430" cy="1306516"/>
          </a:xfrm>
        </p:grpSpPr>
        <p:grpSp>
          <p:nvGrpSpPr>
            <p:cNvPr id="8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9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9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9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9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9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8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0006875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3" r:id="rId1"/>
    <p:sldLayoutId id="2147483794" r:id="rId2"/>
    <p:sldLayoutId id="2147483795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609630" indent="-349268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819192" indent="-207444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999794" indent="-173575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2840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 eaLnBrk="1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887763" y="1940592"/>
            <a:ext cx="19364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3/2018 12:17 P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676983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09" r:id="rId3"/>
    <p:sldLayoutId id="2147483710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076273586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1014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887761" y="1940592"/>
            <a:ext cx="19364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3/2018 12:17 P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008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714" r:id="rId3"/>
    <p:sldLayoutId id="2147483715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4025583101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188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gray">
          <a:xfrm rot="5400000">
            <a:off x="10887761" y="1940592"/>
            <a:ext cx="19364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3/2018 12:17 P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52082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17" r:id="rId2"/>
    <p:sldLayoutId id="2147483718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5324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887761" y="1940592"/>
            <a:ext cx="19364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3/2018 12:17 P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61770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3503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gray">
          <a:xfrm rot="5400000">
            <a:off x="10887761" y="1940592"/>
            <a:ext cx="19364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3/2018 12:17 P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20453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  <p:sldLayoutId id="2147483728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3719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887761" y="1940592"/>
            <a:ext cx="19364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3/2018 12:17 P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59358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731" r:id="rId2"/>
    <p:sldLayoutId id="2147483732" r:id="rId3"/>
    <p:sldLayoutId id="2147483733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033629373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866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887761" y="1940592"/>
            <a:ext cx="19364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3/2018 12:17 P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26439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5" r:id="rId1"/>
    <p:sldLayoutId id="2147483736" r:id="rId2"/>
    <p:sldLayoutId id="2147483737" r:id="rId3"/>
    <p:sldLayoutId id="2147483738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482.xml"/><Relationship Id="rId4" Type="http://schemas.openxmlformats.org/officeDocument/2006/relationships/slideLayout" Target="../slideLayouts/slideLayout74.xml"/><Relationship Id="rId5" Type="http://schemas.openxmlformats.org/officeDocument/2006/relationships/notesSlide" Target="../notesSlides/notesSlide1.xml"/><Relationship Id="rId6" Type="http://schemas.openxmlformats.org/officeDocument/2006/relationships/oleObject" Target="../embeddings/oleObject99.bin"/><Relationship Id="rId7" Type="http://schemas.openxmlformats.org/officeDocument/2006/relationships/image" Target="../media/image15.emf"/><Relationship Id="rId1" Type="http://schemas.openxmlformats.org/officeDocument/2006/relationships/vmlDrawing" Target="../drawings/vmlDrawing98.vml"/><Relationship Id="rId2" Type="http://schemas.openxmlformats.org/officeDocument/2006/relationships/tags" Target="../tags/tag48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484.xml"/><Relationship Id="rId4" Type="http://schemas.openxmlformats.org/officeDocument/2006/relationships/tags" Target="../tags/tag485.xml"/><Relationship Id="rId5" Type="http://schemas.openxmlformats.org/officeDocument/2006/relationships/tags" Target="../tags/tag486.xml"/><Relationship Id="rId6" Type="http://schemas.openxmlformats.org/officeDocument/2006/relationships/tags" Target="../tags/tag487.xml"/><Relationship Id="rId7" Type="http://schemas.openxmlformats.org/officeDocument/2006/relationships/tags" Target="../tags/tag488.xml"/><Relationship Id="rId8" Type="http://schemas.openxmlformats.org/officeDocument/2006/relationships/slideLayout" Target="../slideLayouts/slideLayout74.xml"/><Relationship Id="rId9" Type="http://schemas.openxmlformats.org/officeDocument/2006/relationships/oleObject" Target="../embeddings/oleObject100.bin"/><Relationship Id="rId10" Type="http://schemas.openxmlformats.org/officeDocument/2006/relationships/image" Target="../media/image15.emf"/><Relationship Id="rId1" Type="http://schemas.openxmlformats.org/officeDocument/2006/relationships/vmlDrawing" Target="../drawings/vmlDrawing99.vml"/><Relationship Id="rId2" Type="http://schemas.openxmlformats.org/officeDocument/2006/relationships/tags" Target="../tags/tag48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490.xml"/><Relationship Id="rId4" Type="http://schemas.openxmlformats.org/officeDocument/2006/relationships/slideLayout" Target="../slideLayouts/slideLayout74.xml"/><Relationship Id="rId5" Type="http://schemas.openxmlformats.org/officeDocument/2006/relationships/notesSlide" Target="../notesSlides/notesSlide2.xml"/><Relationship Id="rId6" Type="http://schemas.openxmlformats.org/officeDocument/2006/relationships/oleObject" Target="../embeddings/oleObject101.bin"/><Relationship Id="rId7" Type="http://schemas.openxmlformats.org/officeDocument/2006/relationships/image" Target="../media/image16.emf"/><Relationship Id="rId8" Type="http://schemas.openxmlformats.org/officeDocument/2006/relationships/image" Target="../media/image17.png"/><Relationship Id="rId1" Type="http://schemas.openxmlformats.org/officeDocument/2006/relationships/vmlDrawing" Target="../drawings/vmlDrawing100.vml"/><Relationship Id="rId2" Type="http://schemas.openxmlformats.org/officeDocument/2006/relationships/tags" Target="../tags/tag48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492.xml"/><Relationship Id="rId4" Type="http://schemas.openxmlformats.org/officeDocument/2006/relationships/tags" Target="../tags/tag493.xml"/><Relationship Id="rId5" Type="http://schemas.openxmlformats.org/officeDocument/2006/relationships/slideLayout" Target="../slideLayouts/slideLayout74.xml"/><Relationship Id="rId6" Type="http://schemas.openxmlformats.org/officeDocument/2006/relationships/oleObject" Target="../embeddings/oleObject102.bin"/><Relationship Id="rId7" Type="http://schemas.openxmlformats.org/officeDocument/2006/relationships/image" Target="../media/image6.emf"/><Relationship Id="rId8" Type="http://schemas.openxmlformats.org/officeDocument/2006/relationships/image" Target="../media/image18.jpeg"/><Relationship Id="rId9" Type="http://schemas.openxmlformats.org/officeDocument/2006/relationships/customXml" Target="../ink/ink1.xml"/><Relationship Id="rId10" Type="http://schemas.openxmlformats.org/officeDocument/2006/relationships/image" Target="../media/image44.emf"/><Relationship Id="rId1" Type="http://schemas.openxmlformats.org/officeDocument/2006/relationships/vmlDrawing" Target="../drawings/vmlDrawing101.vml"/><Relationship Id="rId2" Type="http://schemas.openxmlformats.org/officeDocument/2006/relationships/tags" Target="../tags/tag491.xml"/></Relationships>
</file>

<file path=ppt/slides/_rels/slide5.xml.rels><?xml version="1.0" encoding="UTF-8" standalone="yes"?>
<Relationships xmlns="http://schemas.openxmlformats.org/package/2006/relationships"><Relationship Id="rId11" Type="http://schemas.openxmlformats.org/officeDocument/2006/relationships/image" Target="../media/image21.png"/><Relationship Id="rId12" Type="http://schemas.openxmlformats.org/officeDocument/2006/relationships/image" Target="../media/image22.png"/><Relationship Id="rId13" Type="http://schemas.openxmlformats.org/officeDocument/2006/relationships/image" Target="../media/image23.png"/><Relationship Id="rId1" Type="http://schemas.openxmlformats.org/officeDocument/2006/relationships/vmlDrawing" Target="../drawings/vmlDrawing102.vml"/><Relationship Id="rId2" Type="http://schemas.openxmlformats.org/officeDocument/2006/relationships/tags" Target="../tags/tag494.xml"/><Relationship Id="rId3" Type="http://schemas.openxmlformats.org/officeDocument/2006/relationships/tags" Target="../tags/tag495.xml"/><Relationship Id="rId4" Type="http://schemas.openxmlformats.org/officeDocument/2006/relationships/tags" Target="../tags/tag496.xml"/><Relationship Id="rId5" Type="http://schemas.openxmlformats.org/officeDocument/2006/relationships/tags" Target="../tags/tag497.xml"/><Relationship Id="rId6" Type="http://schemas.openxmlformats.org/officeDocument/2006/relationships/slideLayout" Target="../slideLayouts/slideLayout74.xml"/><Relationship Id="rId7" Type="http://schemas.openxmlformats.org/officeDocument/2006/relationships/oleObject" Target="../embeddings/oleObject103.bin"/><Relationship Id="rId8" Type="http://schemas.openxmlformats.org/officeDocument/2006/relationships/image" Target="../media/image15.emf"/><Relationship Id="rId9" Type="http://schemas.openxmlformats.org/officeDocument/2006/relationships/image" Target="../media/image19.jpeg"/><Relationship Id="rId10" Type="http://schemas.openxmlformats.org/officeDocument/2006/relationships/image" Target="../media/image2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499.xml"/><Relationship Id="rId4" Type="http://schemas.openxmlformats.org/officeDocument/2006/relationships/tags" Target="../tags/tag500.xml"/><Relationship Id="rId5" Type="http://schemas.openxmlformats.org/officeDocument/2006/relationships/slideLayout" Target="../slideLayouts/slideLayout74.xml"/><Relationship Id="rId6" Type="http://schemas.openxmlformats.org/officeDocument/2006/relationships/oleObject" Target="../embeddings/oleObject104.bin"/><Relationship Id="rId7" Type="http://schemas.openxmlformats.org/officeDocument/2006/relationships/image" Target="../media/image15.emf"/><Relationship Id="rId1" Type="http://schemas.openxmlformats.org/officeDocument/2006/relationships/vmlDrawing" Target="../drawings/vmlDrawing103.vml"/><Relationship Id="rId2" Type="http://schemas.openxmlformats.org/officeDocument/2006/relationships/tags" Target="../tags/tag498.xml"/></Relationships>
</file>

<file path=ppt/slides/_rels/slide7.xml.rels><?xml version="1.0" encoding="UTF-8" standalone="yes"?>
<Relationships xmlns="http://schemas.openxmlformats.org/package/2006/relationships"><Relationship Id="rId9" Type="http://schemas.openxmlformats.org/officeDocument/2006/relationships/tags" Target="../tags/tag508.xml"/><Relationship Id="rId20" Type="http://schemas.openxmlformats.org/officeDocument/2006/relationships/tags" Target="../tags/tag519.xml"/><Relationship Id="rId21" Type="http://schemas.openxmlformats.org/officeDocument/2006/relationships/tags" Target="../tags/tag520.xml"/><Relationship Id="rId22" Type="http://schemas.openxmlformats.org/officeDocument/2006/relationships/slideLayout" Target="../slideLayouts/slideLayout74.xml"/><Relationship Id="rId23" Type="http://schemas.openxmlformats.org/officeDocument/2006/relationships/oleObject" Target="../embeddings/oleObject105.bin"/><Relationship Id="rId24" Type="http://schemas.openxmlformats.org/officeDocument/2006/relationships/image" Target="../media/image24.emf"/><Relationship Id="rId25" Type="http://schemas.openxmlformats.org/officeDocument/2006/relationships/chart" Target="../charts/chart1.xml"/><Relationship Id="rId10" Type="http://schemas.openxmlformats.org/officeDocument/2006/relationships/tags" Target="../tags/tag509.xml"/><Relationship Id="rId11" Type="http://schemas.openxmlformats.org/officeDocument/2006/relationships/tags" Target="../tags/tag510.xml"/><Relationship Id="rId12" Type="http://schemas.openxmlformats.org/officeDocument/2006/relationships/tags" Target="../tags/tag511.xml"/><Relationship Id="rId13" Type="http://schemas.openxmlformats.org/officeDocument/2006/relationships/tags" Target="../tags/tag512.xml"/><Relationship Id="rId14" Type="http://schemas.openxmlformats.org/officeDocument/2006/relationships/tags" Target="../tags/tag513.xml"/><Relationship Id="rId15" Type="http://schemas.openxmlformats.org/officeDocument/2006/relationships/tags" Target="../tags/tag514.xml"/><Relationship Id="rId16" Type="http://schemas.openxmlformats.org/officeDocument/2006/relationships/tags" Target="../tags/tag515.xml"/><Relationship Id="rId17" Type="http://schemas.openxmlformats.org/officeDocument/2006/relationships/tags" Target="../tags/tag516.xml"/><Relationship Id="rId18" Type="http://schemas.openxmlformats.org/officeDocument/2006/relationships/tags" Target="../tags/tag517.xml"/><Relationship Id="rId19" Type="http://schemas.openxmlformats.org/officeDocument/2006/relationships/tags" Target="../tags/tag518.xml"/><Relationship Id="rId1" Type="http://schemas.openxmlformats.org/officeDocument/2006/relationships/vmlDrawing" Target="../drawings/vmlDrawing104.vml"/><Relationship Id="rId2" Type="http://schemas.openxmlformats.org/officeDocument/2006/relationships/tags" Target="../tags/tag501.xml"/><Relationship Id="rId3" Type="http://schemas.openxmlformats.org/officeDocument/2006/relationships/tags" Target="../tags/tag502.xml"/><Relationship Id="rId4" Type="http://schemas.openxmlformats.org/officeDocument/2006/relationships/tags" Target="../tags/tag503.xml"/><Relationship Id="rId5" Type="http://schemas.openxmlformats.org/officeDocument/2006/relationships/tags" Target="../tags/tag504.xml"/><Relationship Id="rId6" Type="http://schemas.openxmlformats.org/officeDocument/2006/relationships/tags" Target="../tags/tag505.xml"/><Relationship Id="rId7" Type="http://schemas.openxmlformats.org/officeDocument/2006/relationships/tags" Target="../tags/tag506.xml"/><Relationship Id="rId8" Type="http://schemas.openxmlformats.org/officeDocument/2006/relationships/tags" Target="../tags/tag50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640799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1405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40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1183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noAutofit/>
          </a:bodyPr>
          <a:lstStyle/>
          <a:p>
            <a:r>
              <a:rPr lang="en-US" dirty="0"/>
              <a:t>Salesforce management poses a unique set of challenges in emerging markets</a:t>
            </a:r>
          </a:p>
        </p:txBody>
      </p:sp>
      <p:sp>
        <p:nvSpPr>
          <p:cNvPr id="8" name="3. Unit of measure" hidden="1"/>
          <p:cNvSpPr txBox="1">
            <a:spLocks noChangeArrowheads="1"/>
          </p:cNvSpPr>
          <p:nvPr/>
        </p:nvSpPr>
        <p:spPr bwMode="gray">
          <a:xfrm>
            <a:off x="1612901" y="554866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895350">
              <a:defRPr baseline="0">
                <a:solidFill>
                  <a:schemeClr val="accent6"/>
                </a:solidFill>
                <a:latin typeface="+mn-lt"/>
              </a:defRPr>
            </a:lvl1pPr>
            <a:lvl2pPr marL="447675" defTabSz="895350">
              <a:defRPr sz="2400"/>
            </a:lvl2pPr>
            <a:lvl3pPr marL="895350" defTabSz="895350">
              <a:defRPr sz="2400"/>
            </a:lvl3pPr>
            <a:lvl4pPr marL="1344613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en-US" dirty="0"/>
              <a:t>Unit of measure</a:t>
            </a:r>
          </a:p>
        </p:txBody>
      </p:sp>
      <p:grpSp>
        <p:nvGrpSpPr>
          <p:cNvPr id="25" name="Group 24"/>
          <p:cNvGrpSpPr>
            <a:grpSpLocks/>
          </p:cNvGrpSpPr>
          <p:nvPr/>
        </p:nvGrpSpPr>
        <p:grpSpPr>
          <a:xfrm>
            <a:off x="158759" y="670959"/>
            <a:ext cx="11491891" cy="5720316"/>
            <a:chOff x="1985913" y="1225138"/>
            <a:chExt cx="7754616" cy="4787714"/>
          </a:xfrm>
        </p:grpSpPr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xmlns="" id="{9F4D9BC1-1A24-41A8-BFA8-6A2B446AB724}"/>
                </a:ext>
              </a:extLst>
            </p:cNvPr>
            <p:cNvGrpSpPr/>
            <p:nvPr/>
          </p:nvGrpSpPr>
          <p:grpSpPr>
            <a:xfrm>
              <a:off x="1985913" y="1225138"/>
              <a:ext cx="7351653" cy="747681"/>
              <a:chOff x="492076" y="1115143"/>
              <a:chExt cx="7351653" cy="891799"/>
            </a:xfrm>
          </p:grpSpPr>
          <p:sp>
            <p:nvSpPr>
              <p:cNvPr id="7" name="Rectangle 9">
                <a:extLst>
                  <a:ext uri="{FF2B5EF4-FFF2-40B4-BE49-F238E27FC236}">
                    <a16:creationId xmlns:a16="http://schemas.microsoft.com/office/drawing/2014/main" xmlns="" id="{EAC28C3C-4285-4A03-B169-8986AF4922BF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835254" y="1115143"/>
                <a:ext cx="7008475" cy="891799"/>
              </a:xfrm>
              <a:prstGeom prst="round1Rect">
                <a:avLst/>
              </a:prstGeom>
              <a:gradFill>
                <a:gsLst>
                  <a:gs pos="0">
                    <a:schemeClr val="accent3">
                      <a:lumMod val="20000"/>
                      <a:lumOff val="80000"/>
                    </a:schemeClr>
                  </a:gs>
                  <a:gs pos="79000">
                    <a:schemeClr val="bg1">
                      <a:lumMod val="0"/>
                      <a:lumOff val="100000"/>
                    </a:schemeClr>
                  </a:gs>
                </a:gsLst>
                <a:lin ang="0" scaled="1"/>
              </a:gradFill>
              <a:ln w="19050">
                <a:noFill/>
              </a:ln>
              <a:effectLst/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2843" tIns="51422" rIns="102843" bIns="5142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>
                  <a:defRPr b="1">
                    <a:solidFill>
                      <a:schemeClr val="bg1"/>
                    </a:solidFill>
                  </a:defRPr>
                </a:lvl1pPr>
              </a:lstStyle>
              <a:p>
                <a:r>
                  <a:rPr lang="en-US" sz="1800" dirty="0">
                    <a:solidFill>
                      <a:schemeClr val="tx2"/>
                    </a:solidFill>
                  </a:rPr>
                  <a:t>Several thousand retail outlets spread across hundreds of micro-market; l</a:t>
                </a:r>
                <a:r>
                  <a:rPr lang="en-US" sz="1800" spc="-30" dirty="0">
                    <a:solidFill>
                      <a:schemeClr val="tx2"/>
                    </a:solidFill>
                  </a:rPr>
                  <a:t>ow level of standardization and automation across regions</a:t>
                </a:r>
                <a:endParaRPr lang="en-US" sz="1800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xmlns="" id="{3D846932-E832-431B-A392-FE656EA1E50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2076" y="1115143"/>
                <a:ext cx="314072" cy="891799"/>
              </a:xfrm>
              <a:prstGeom prst="rect">
                <a:avLst/>
              </a:prstGeom>
              <a:solidFill>
                <a:schemeClr val="tx2"/>
              </a:solidFill>
              <a:ln w="19050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2843" tIns="51422" rIns="102843" bIns="5142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GB" sz="2400" b="1" dirty="0">
                    <a:solidFill>
                      <a:schemeClr val="bg1"/>
                    </a:solidFill>
                  </a:rPr>
                  <a:t>1</a:t>
                </a:r>
              </a:p>
            </p:txBody>
          </p:sp>
        </p:grp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xmlns="" id="{3DC92DD1-4032-4FE4-B0C8-FD9AEA527376}"/>
                </a:ext>
              </a:extLst>
            </p:cNvPr>
            <p:cNvGrpSpPr/>
            <p:nvPr/>
          </p:nvGrpSpPr>
          <p:grpSpPr>
            <a:xfrm>
              <a:off x="1985913" y="2114311"/>
              <a:ext cx="7754616" cy="580665"/>
              <a:chOff x="492076" y="2078561"/>
              <a:chExt cx="7754616" cy="909241"/>
            </a:xfrm>
          </p:grpSpPr>
          <p:sp>
            <p:nvSpPr>
              <p:cNvPr id="9" name="Rectangle 9">
                <a:extLst>
                  <a:ext uri="{FF2B5EF4-FFF2-40B4-BE49-F238E27FC236}">
                    <a16:creationId xmlns:a16="http://schemas.microsoft.com/office/drawing/2014/main" xmlns="" id="{129DE1A7-9714-4FE6-ACB8-EB1A8B1405D1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835254" y="2096003"/>
                <a:ext cx="7411438" cy="891799"/>
              </a:xfrm>
              <a:prstGeom prst="round1Rect">
                <a:avLst/>
              </a:prstGeom>
              <a:gradFill>
                <a:gsLst>
                  <a:gs pos="0">
                    <a:schemeClr val="accent3">
                      <a:lumMod val="20000"/>
                      <a:lumOff val="80000"/>
                    </a:schemeClr>
                  </a:gs>
                  <a:gs pos="79000">
                    <a:schemeClr val="bg1">
                      <a:lumMod val="0"/>
                      <a:lumOff val="100000"/>
                    </a:schemeClr>
                  </a:gs>
                </a:gsLst>
                <a:lin ang="0" scaled="1"/>
              </a:gradFill>
              <a:ln w="19050">
                <a:noFill/>
              </a:ln>
              <a:effectLst/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2843" tIns="51422" rIns="102843" bIns="5142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>
                  <a:defRPr b="1">
                    <a:solidFill>
                      <a:schemeClr val="bg1"/>
                    </a:solidFill>
                  </a:defRPr>
                </a:lvl1pPr>
              </a:lstStyle>
              <a:p>
                <a:r>
                  <a:rPr lang="en-US" sz="1800" dirty="0">
                    <a:solidFill>
                      <a:schemeClr val="tx2"/>
                    </a:solidFill>
                  </a:rPr>
                  <a:t>Mindset of ‘salesforce is a cost’, rather than treating it as an investment</a:t>
                </a:r>
              </a:p>
            </p:txBody>
          </p:sp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xmlns="" id="{3452CD91-921F-4E3B-A71F-8DC9B602780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2076" y="2078561"/>
                <a:ext cx="314072" cy="891799"/>
              </a:xfrm>
              <a:prstGeom prst="rect">
                <a:avLst/>
              </a:prstGeom>
              <a:solidFill>
                <a:schemeClr val="tx2"/>
              </a:solidFill>
              <a:ln w="19050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2843" tIns="51422" rIns="102843" bIns="5142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GB" sz="2400" b="1" dirty="0">
                    <a:solidFill>
                      <a:schemeClr val="bg1"/>
                    </a:solidFill>
                  </a:rPr>
                  <a:t>2</a:t>
                </a:r>
              </a:p>
            </p:txBody>
          </p:sp>
        </p:grp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xmlns="" id="{8A93FE58-EEE7-436A-B852-AC8CC1EAEDE8}"/>
                </a:ext>
              </a:extLst>
            </p:cNvPr>
            <p:cNvGrpSpPr/>
            <p:nvPr/>
          </p:nvGrpSpPr>
          <p:grpSpPr>
            <a:xfrm>
              <a:off x="1985913" y="2836467"/>
              <a:ext cx="7754616" cy="845750"/>
              <a:chOff x="492076" y="3088028"/>
              <a:chExt cx="7754616" cy="845750"/>
            </a:xfrm>
          </p:grpSpPr>
          <p:sp>
            <p:nvSpPr>
              <p:cNvPr id="10" name="Rectangle 9">
                <a:extLst>
                  <a:ext uri="{FF2B5EF4-FFF2-40B4-BE49-F238E27FC236}">
                    <a16:creationId xmlns:a16="http://schemas.microsoft.com/office/drawing/2014/main" xmlns="" id="{E944850E-CC6B-4DC8-AD7E-A860A9B41E66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835254" y="3088028"/>
                <a:ext cx="7411438" cy="845750"/>
              </a:xfrm>
              <a:prstGeom prst="round1Rect">
                <a:avLst/>
              </a:prstGeom>
              <a:gradFill>
                <a:gsLst>
                  <a:gs pos="0">
                    <a:schemeClr val="accent3">
                      <a:lumMod val="20000"/>
                      <a:lumOff val="80000"/>
                    </a:schemeClr>
                  </a:gs>
                  <a:gs pos="79000">
                    <a:schemeClr val="bg1">
                      <a:lumMod val="0"/>
                      <a:lumOff val="100000"/>
                    </a:schemeClr>
                  </a:gs>
                </a:gsLst>
                <a:lin ang="0" scaled="1"/>
              </a:gradFill>
              <a:ln w="19050">
                <a:noFill/>
              </a:ln>
              <a:effectLst/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2843" tIns="51422" rIns="102843" bIns="5142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>
                  <a:defRPr b="1">
                    <a:solidFill>
                      <a:schemeClr val="bg1"/>
                    </a:solidFill>
                  </a:defRPr>
                </a:lvl1pPr>
              </a:lstStyle>
              <a:p>
                <a:r>
                  <a:rPr lang="en-US" sz="1800" dirty="0">
                    <a:solidFill>
                      <a:schemeClr val="tx2"/>
                    </a:solidFill>
                  </a:rPr>
                  <a:t>Cookie cutter approach of directly transporting tools from developed markets. Such tools are over-configured, expensive and require long deployment time in emerging markets</a:t>
                </a:r>
              </a:p>
            </p:txBody>
          </p:sp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xmlns="" id="{C9E35337-53C7-4142-A856-CCC77F469E3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2076" y="3100554"/>
                <a:ext cx="314072" cy="833224"/>
              </a:xfrm>
              <a:prstGeom prst="rect">
                <a:avLst/>
              </a:prstGeom>
              <a:solidFill>
                <a:schemeClr val="tx2"/>
              </a:solidFill>
              <a:ln w="19050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2843" tIns="51422" rIns="102843" bIns="5142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GB" sz="2400" b="1">
                    <a:solidFill>
                      <a:schemeClr val="bg1"/>
                    </a:solidFill>
                  </a:rPr>
                  <a:t>3</a:t>
                </a:r>
                <a:endParaRPr lang="en-GB" sz="2400" b="1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xmlns="" id="{BB821097-AE22-414A-A4EB-3325DAB3D380}"/>
                </a:ext>
              </a:extLst>
            </p:cNvPr>
            <p:cNvGrpSpPr/>
            <p:nvPr/>
          </p:nvGrpSpPr>
          <p:grpSpPr>
            <a:xfrm>
              <a:off x="1985913" y="3823710"/>
              <a:ext cx="7754616" cy="690617"/>
              <a:chOff x="492076" y="4005397"/>
              <a:chExt cx="7754616" cy="961565"/>
            </a:xfrm>
          </p:grpSpPr>
          <p:sp>
            <p:nvSpPr>
              <p:cNvPr id="11" name="Rectangle 9">
                <a:extLst>
                  <a:ext uri="{FF2B5EF4-FFF2-40B4-BE49-F238E27FC236}">
                    <a16:creationId xmlns:a16="http://schemas.microsoft.com/office/drawing/2014/main" xmlns="" id="{01242463-52CD-4DA0-B395-E28B2B1E7FD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835254" y="4057722"/>
                <a:ext cx="7411438" cy="891799"/>
              </a:xfrm>
              <a:prstGeom prst="round1Rect">
                <a:avLst/>
              </a:prstGeom>
              <a:gradFill>
                <a:gsLst>
                  <a:gs pos="0">
                    <a:schemeClr val="accent3">
                      <a:lumMod val="20000"/>
                      <a:lumOff val="80000"/>
                    </a:schemeClr>
                  </a:gs>
                  <a:gs pos="79000">
                    <a:schemeClr val="bg1">
                      <a:lumMod val="0"/>
                      <a:lumOff val="100000"/>
                    </a:schemeClr>
                  </a:gs>
                </a:gsLst>
                <a:lin ang="0" scaled="1"/>
              </a:gradFill>
              <a:ln w="19050">
                <a:noFill/>
              </a:ln>
              <a:effectLst/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2843" tIns="51422" rIns="102843" bIns="5142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>
                  <a:defRPr b="1">
                    <a:solidFill>
                      <a:schemeClr val="bg1"/>
                    </a:solidFill>
                  </a:defRPr>
                </a:lvl1pPr>
              </a:lstStyle>
              <a:p>
                <a:r>
                  <a:rPr lang="en-US" sz="1800" spc="-30" dirty="0">
                    <a:solidFill>
                      <a:schemeClr val="tx2"/>
                    </a:solidFill>
                  </a:rPr>
                  <a:t>Inadequate investment in developing and using analytics engine to drive decision making</a:t>
                </a:r>
              </a:p>
            </p:txBody>
          </p:sp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xmlns="" id="{40C88AFC-F8A5-4553-9740-A78F4595986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2076" y="4005397"/>
                <a:ext cx="314072" cy="961565"/>
              </a:xfrm>
              <a:prstGeom prst="rect">
                <a:avLst/>
              </a:prstGeom>
              <a:solidFill>
                <a:schemeClr val="tx2"/>
              </a:solidFill>
              <a:ln w="19050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2843" tIns="51422" rIns="102843" bIns="5142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GB" sz="2400" b="1" dirty="0">
                    <a:solidFill>
                      <a:schemeClr val="bg1"/>
                    </a:solidFill>
                  </a:rPr>
                  <a:t>4</a:t>
                </a:r>
              </a:p>
            </p:txBody>
          </p:sp>
        </p:grp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xmlns="" id="{B73D0E33-73E6-4BDB-B673-26414E7B0C23}"/>
                </a:ext>
              </a:extLst>
            </p:cNvPr>
            <p:cNvGrpSpPr/>
            <p:nvPr/>
          </p:nvGrpSpPr>
          <p:grpSpPr>
            <a:xfrm>
              <a:off x="1985913" y="5528549"/>
              <a:ext cx="7754616" cy="484303"/>
              <a:chOff x="492076" y="5038581"/>
              <a:chExt cx="7754616" cy="891799"/>
            </a:xfrm>
          </p:grpSpPr>
          <p:sp>
            <p:nvSpPr>
              <p:cNvPr id="12" name="Rectangle 9">
                <a:extLst>
                  <a:ext uri="{FF2B5EF4-FFF2-40B4-BE49-F238E27FC236}">
                    <a16:creationId xmlns:a16="http://schemas.microsoft.com/office/drawing/2014/main" xmlns="" id="{C6C2EB58-EDC2-4912-AD13-D05101F943E1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835254" y="5038581"/>
                <a:ext cx="7411438" cy="891799"/>
              </a:xfrm>
              <a:prstGeom prst="round1Rect">
                <a:avLst/>
              </a:prstGeom>
              <a:gradFill>
                <a:gsLst>
                  <a:gs pos="0">
                    <a:schemeClr val="accent3">
                      <a:lumMod val="20000"/>
                      <a:lumOff val="80000"/>
                    </a:schemeClr>
                  </a:gs>
                  <a:gs pos="79000">
                    <a:schemeClr val="bg1">
                      <a:lumMod val="0"/>
                      <a:lumOff val="100000"/>
                    </a:schemeClr>
                  </a:gs>
                </a:gsLst>
                <a:lin ang="0" scaled="1"/>
              </a:gradFill>
              <a:ln w="19050">
                <a:noFill/>
              </a:ln>
              <a:effectLst/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2843" tIns="51422" rIns="102843" bIns="5142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>
                  <a:defRPr b="1">
                    <a:solidFill>
                      <a:schemeClr val="bg1"/>
                    </a:solidFill>
                  </a:defRPr>
                </a:lvl1pPr>
              </a:lstStyle>
              <a:p>
                <a:r>
                  <a:rPr lang="en-US" sz="1800" dirty="0">
                    <a:solidFill>
                      <a:schemeClr val="tx2"/>
                    </a:solidFill>
                  </a:rPr>
                  <a:t>Outdated classroom based capability building for sales people run by HR</a:t>
                </a:r>
              </a:p>
            </p:txBody>
          </p:sp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xmlns="" id="{749F8ADC-2D8E-4E40-86E4-5B3AC561A33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2076" y="5038581"/>
                <a:ext cx="314072" cy="891799"/>
              </a:xfrm>
              <a:prstGeom prst="rect">
                <a:avLst/>
              </a:prstGeom>
              <a:solidFill>
                <a:schemeClr val="tx2"/>
              </a:solidFill>
              <a:ln w="19050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2843" tIns="51422" rIns="102843" bIns="5142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2400" b="1" dirty="0">
                    <a:solidFill>
                      <a:schemeClr val="bg1"/>
                    </a:solidFill>
                  </a:rPr>
                  <a:t>6</a:t>
                </a:r>
                <a:endParaRPr lang="en-GB" sz="2400" b="1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xmlns="" id="{76B2AE4D-9B10-4772-AD2A-09341C95D949}"/>
                </a:ext>
              </a:extLst>
            </p:cNvPr>
            <p:cNvGrpSpPr/>
            <p:nvPr/>
          </p:nvGrpSpPr>
          <p:grpSpPr>
            <a:xfrm>
              <a:off x="1985913" y="4655819"/>
              <a:ext cx="7754616" cy="731237"/>
              <a:chOff x="492076" y="5038581"/>
              <a:chExt cx="7754616" cy="891799"/>
            </a:xfrm>
          </p:grpSpPr>
          <p:sp>
            <p:nvSpPr>
              <p:cNvPr id="20" name="Rectangle 9">
                <a:extLst>
                  <a:ext uri="{FF2B5EF4-FFF2-40B4-BE49-F238E27FC236}">
                    <a16:creationId xmlns:a16="http://schemas.microsoft.com/office/drawing/2014/main" xmlns="" id="{AA778AF0-54BB-48A3-B8B2-61F274CD5BB1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835254" y="5038581"/>
                <a:ext cx="7411438" cy="891799"/>
              </a:xfrm>
              <a:prstGeom prst="round1Rect">
                <a:avLst/>
              </a:prstGeom>
              <a:gradFill>
                <a:gsLst>
                  <a:gs pos="0">
                    <a:schemeClr val="accent3">
                      <a:lumMod val="20000"/>
                      <a:lumOff val="80000"/>
                    </a:schemeClr>
                  </a:gs>
                  <a:gs pos="79000">
                    <a:schemeClr val="bg1">
                      <a:lumMod val="0"/>
                      <a:lumOff val="100000"/>
                    </a:schemeClr>
                  </a:gs>
                </a:gsLst>
                <a:lin ang="0" scaled="1"/>
              </a:gradFill>
              <a:ln w="19050">
                <a:noFill/>
              </a:ln>
              <a:effectLst/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2843" tIns="51422" rIns="102843" bIns="5142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>
                  <a:defRPr b="1">
                    <a:solidFill>
                      <a:schemeClr val="bg1"/>
                    </a:solidFill>
                  </a:defRPr>
                </a:lvl1pPr>
              </a:lstStyle>
              <a:p>
                <a:r>
                  <a:rPr lang="en-US" sz="1800" dirty="0">
                    <a:solidFill>
                      <a:schemeClr val="tx2"/>
                    </a:solidFill>
                  </a:rPr>
                  <a:t>Performance management discussions focused on symptoms i.e. output metrics, limited attention to diagnosing root-causes</a:t>
                </a:r>
              </a:p>
            </p:txBody>
          </p:sp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xmlns="" id="{F26B6B6A-48EF-41D4-8BC8-555CACF5B19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2076" y="5038581"/>
                <a:ext cx="314072" cy="891799"/>
              </a:xfrm>
              <a:prstGeom prst="rect">
                <a:avLst/>
              </a:prstGeom>
              <a:solidFill>
                <a:schemeClr val="tx2"/>
              </a:solidFill>
              <a:ln w="19050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2843" tIns="51422" rIns="102843" bIns="5142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GB" sz="2400" b="1" dirty="0">
                    <a:solidFill>
                      <a:schemeClr val="bg1"/>
                    </a:solidFill>
                  </a:rPr>
                  <a:t>5</a:t>
                </a:r>
              </a:p>
            </p:txBody>
          </p:sp>
        </p:grpSp>
      </p:grpSp>
      <p:sp>
        <p:nvSpPr>
          <p:cNvPr id="29" name="Rectangle 13">
            <a:extLst>
              <a:ext uri="{FF2B5EF4-FFF2-40B4-BE49-F238E27FC236}">
                <a16:creationId xmlns:a16="http://schemas.microsoft.com/office/drawing/2014/main" xmlns="" id="{4554D3CB-BE76-454B-9C13-A4B72B5F782A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282589" y="0"/>
            <a:ext cx="666524" cy="130629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hr-HR" sz="1000" b="1">
                <a:solidFill>
                  <a:srgbClr val="FFFFFF"/>
                </a:solidFill>
                <a:latin typeface="Arial" pitchFamily="34" charset="0"/>
              </a:rPr>
              <a:t>PMP015</a:t>
            </a:r>
            <a:endParaRPr lang="pl-PL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0" name="Rectangle 13">
            <a:extLst>
              <a:ext uri="{FF2B5EF4-FFF2-40B4-BE49-F238E27FC236}">
                <a16:creationId xmlns:a16="http://schemas.microsoft.com/office/drawing/2014/main" xmlns="" id="{DC44CA0B-D3A8-45E6-A8A9-540CE0E855BA}"/>
              </a:ext>
            </a:extLst>
          </p:cNvPr>
          <p:cNvSpPr>
            <a:spLocks noChangeArrowheads="1"/>
          </p:cNvSpPr>
          <p:nvPr/>
        </p:nvSpPr>
        <p:spPr bwMode="gray">
          <a:xfrm>
            <a:off x="-1" y="10078"/>
            <a:ext cx="2355274" cy="145663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Healthcare | Asia -Pacific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2588487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>
            <a:extLst>
              <a:ext uri="{FF2B5EF4-FFF2-40B4-BE49-F238E27FC236}">
                <a16:creationId xmlns:a16="http://schemas.microsoft.com/office/drawing/2014/main" xmlns="" id="{EF353B15-37B5-4750-AA4D-CB79DEBED98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35059022"/>
              </p:ext>
            </p:extLst>
          </p:nvPr>
        </p:nvGraphicFramePr>
        <p:xfrm>
          <a:off x="1495426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2430" name="think-cell Slide" r:id="rId9" imgW="353" imgH="353" progId="TCLayout.ActiveDocument.1">
                  <p:embed/>
                </p:oleObj>
              </mc:Choice>
              <mc:Fallback>
                <p:oleObj name="think-cell Slide" r:id="rId9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495426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8A489F6E-8288-494C-BE23-E05663B6A54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493837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40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CFF7B367-E877-4128-9D22-7EF748D90481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158759" y="230189"/>
            <a:ext cx="10558547" cy="738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noAutofit/>
          </a:bodyPr>
          <a:lstStyle/>
          <a:p>
            <a:r>
              <a:rPr lang="en-US" dirty="0"/>
              <a:t>Our experience suggests that debottlenecking salesforce productivity can drive 20-30% growth over baseline in 6-9 months in emerging markets</a:t>
            </a:r>
            <a:endParaRPr lang="en-GB" dirty="0"/>
          </a:p>
        </p:txBody>
      </p:sp>
      <p:grpSp>
        <p:nvGrpSpPr>
          <p:cNvPr id="18" name="Group 17"/>
          <p:cNvGrpSpPr/>
          <p:nvPr/>
        </p:nvGrpSpPr>
        <p:grpSpPr>
          <a:xfrm>
            <a:off x="158759" y="1002183"/>
            <a:ext cx="11491891" cy="5417667"/>
            <a:chOff x="158759" y="1002183"/>
            <a:chExt cx="11491891" cy="5112177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xmlns="" id="{D7F10E4D-D0B9-44B1-9EB7-061B08D1A44C}"/>
                </a:ext>
              </a:extLst>
            </p:cNvPr>
            <p:cNvSpPr txBox="1"/>
            <p:nvPr>
              <p:custDataLst>
                <p:tags r:id="rId4"/>
              </p:custDataLst>
            </p:nvPr>
          </p:nvSpPr>
          <p:spPr>
            <a:xfrm>
              <a:off x="158759" y="1297727"/>
              <a:ext cx="1774816" cy="118937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lIns="76200" tIns="76200" rIns="76200" bIns="76200" rtlCol="0" anchor="ctr" anchorCtr="0">
              <a:no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GB" b="1" dirty="0">
                  <a:solidFill>
                    <a:schemeClr val="bg2"/>
                  </a:solidFill>
                </a:rPr>
                <a:t>Cement</a:t>
              </a:r>
            </a:p>
            <a:p>
              <a:endParaRPr lang="en-US" b="1" dirty="0">
                <a:solidFill>
                  <a:schemeClr val="bg2"/>
                </a:solidFill>
              </a:endParaRPr>
            </a:p>
          </p:txBody>
        </p:sp>
        <p:sp>
          <p:nvSpPr>
            <p:cNvPr id="4" name="Rectangle 2">
              <a:extLst>
                <a:ext uri="{FF2B5EF4-FFF2-40B4-BE49-F238E27FC236}">
                  <a16:creationId xmlns:a16="http://schemas.microsoft.com/office/drawing/2014/main" xmlns="" id="{5E3A51A8-32D9-4565-88FC-B63315D7E508}"/>
                </a:ext>
              </a:extLst>
            </p:cNvPr>
            <p:cNvSpPr txBox="1"/>
            <p:nvPr>
              <p:custDataLst>
                <p:tags r:id="rId5"/>
              </p:custDataLst>
            </p:nvPr>
          </p:nvSpPr>
          <p:spPr>
            <a:xfrm>
              <a:off x="158759" y="2575742"/>
              <a:ext cx="1774816" cy="11204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lIns="76200" tIns="76200" rIns="76200" bIns="76200" rtlCol="0" anchor="ctr" anchorCtr="0">
              <a:no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GB" b="1" dirty="0">
                  <a:solidFill>
                    <a:schemeClr val="bg2"/>
                  </a:solidFill>
                </a:rPr>
                <a:t>Consumer durables</a:t>
              </a:r>
            </a:p>
            <a:p>
              <a:endParaRPr lang="en-US" b="1" dirty="0">
                <a:solidFill>
                  <a:schemeClr val="bg2"/>
                </a:solidFill>
              </a:endParaRPr>
            </a:p>
          </p:txBody>
        </p:sp>
        <p:sp>
          <p:nvSpPr>
            <p:cNvPr id="6" name="Rectangle 2">
              <a:extLst>
                <a:ext uri="{FF2B5EF4-FFF2-40B4-BE49-F238E27FC236}">
                  <a16:creationId xmlns:a16="http://schemas.microsoft.com/office/drawing/2014/main" xmlns="" id="{35FA94D8-1F28-4D53-B92D-8B6707F0C476}"/>
                </a:ext>
              </a:extLst>
            </p:cNvPr>
            <p:cNvSpPr txBox="1">
              <a:spLocks/>
            </p:cNvSpPr>
            <p:nvPr>
              <p:custDataLst>
                <p:tags r:id="rId6"/>
              </p:custDataLst>
            </p:nvPr>
          </p:nvSpPr>
          <p:spPr>
            <a:xfrm>
              <a:off x="158759" y="4993912"/>
              <a:ext cx="1774816" cy="11204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lIns="76200" tIns="76200" rIns="76200" bIns="76200" rtlCol="0" anchor="ctr" anchorCtr="0">
              <a:no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GB" b="1" dirty="0">
                  <a:solidFill>
                    <a:schemeClr val="bg2"/>
                  </a:solidFill>
                </a:rPr>
                <a:t>Automotive</a:t>
              </a:r>
            </a:p>
            <a:p>
              <a:endParaRPr lang="en-US" b="1" dirty="0">
                <a:solidFill>
                  <a:schemeClr val="bg2"/>
                </a:solidFill>
              </a:endParaRPr>
            </a:p>
          </p:txBody>
        </p:sp>
        <p:sp>
          <p:nvSpPr>
            <p:cNvPr id="5" name="Rectangle 2">
              <a:extLst>
                <a:ext uri="{FF2B5EF4-FFF2-40B4-BE49-F238E27FC236}">
                  <a16:creationId xmlns:a16="http://schemas.microsoft.com/office/drawing/2014/main" xmlns="" id="{5F127E80-2E02-4F16-894B-6629C40E0989}"/>
                </a:ext>
              </a:extLst>
            </p:cNvPr>
            <p:cNvSpPr txBox="1"/>
            <p:nvPr>
              <p:custDataLst>
                <p:tags r:id="rId7"/>
              </p:custDataLst>
            </p:nvPr>
          </p:nvSpPr>
          <p:spPr>
            <a:xfrm>
              <a:off x="158759" y="3784828"/>
              <a:ext cx="1774816" cy="11204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lIns="76200" tIns="76200" rIns="76200" bIns="76200" rtlCol="0" anchor="ctr" anchorCtr="0">
              <a:no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GB" b="1" dirty="0">
                  <a:solidFill>
                    <a:schemeClr val="bg2"/>
                  </a:solidFill>
                </a:rPr>
                <a:t>Pharmaceuticals</a:t>
              </a:r>
            </a:p>
          </p:txBody>
        </p:sp>
        <p:cxnSp>
          <p:nvCxnSpPr>
            <p:cNvPr id="8" name="AutoShape 249">
              <a:extLst>
                <a:ext uri="{FF2B5EF4-FFF2-40B4-BE49-F238E27FC236}">
                  <a16:creationId xmlns:a16="http://schemas.microsoft.com/office/drawing/2014/main" xmlns="" id="{F5C2A484-C470-416D-9198-F06523030160}"/>
                </a:ext>
              </a:extLst>
            </p:cNvPr>
            <p:cNvCxnSpPr>
              <a:cxnSpLocks noChangeShapeType="1"/>
            </p:cNvCxnSpPr>
            <p:nvPr/>
          </p:nvCxnSpPr>
          <p:spPr bwMode="gray">
            <a:xfrm>
              <a:off x="2019300" y="1252179"/>
              <a:ext cx="9553575" cy="0"/>
            </a:xfrm>
            <a:prstGeom prst="straightConnector1">
              <a:avLst/>
            </a:prstGeom>
            <a:noFill/>
            <a:ln w="9525">
              <a:solidFill>
                <a:schemeClr val="tx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9" name="ACET">
              <a:extLst>
                <a:ext uri="{FF2B5EF4-FFF2-40B4-BE49-F238E27FC236}">
                  <a16:creationId xmlns:a16="http://schemas.microsoft.com/office/drawing/2014/main" xmlns="" id="{11C53313-27D5-408B-8A57-006E4F77D95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019300" y="1002183"/>
              <a:ext cx="9553575" cy="23462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8288" anchor="b">
              <a:spAutoFit/>
            </a:bodyPr>
            <a:lstStyle/>
            <a:p>
              <a:r>
                <a:rPr lang="en-US" sz="1400" b="1" dirty="0">
                  <a:solidFill>
                    <a:schemeClr val="tx2"/>
                  </a:solidFill>
                  <a:latin typeface="+mn-lt"/>
                </a:rPr>
                <a:t>Description of impact</a:t>
              </a: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xmlns="" id="{61A961E8-4CC7-44A1-AC56-01965BA445B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933575" y="1297727"/>
              <a:ext cx="9717075" cy="1189378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19050" cap="flat" cmpd="sng" algn="ctr">
              <a:noFill/>
              <a:prstDash val="solid"/>
            </a:ln>
            <a:effectLst/>
            <a:extLst/>
          </p:spPr>
          <p:txBody>
            <a:bodyPr rtlCol="0" anchor="ctr">
              <a:noAutofit/>
            </a:bodyPr>
            <a:lstStyle/>
            <a:p>
              <a:pPr marL="280035" indent="-280035" algn="ctr" defTabSz="896112" fontAlgn="auto">
                <a:spcBef>
                  <a:spcPts val="0"/>
                </a:spcBef>
                <a:spcAft>
                  <a:spcPts val="0"/>
                </a:spcAft>
                <a:buFont typeface="Wingdings" panose="05000000000000000000" pitchFamily="2" charset="2"/>
                <a:buChar char="§"/>
                <a:defRPr/>
              </a:pPr>
              <a:endParaRPr lang="en-US" sz="1400" kern="0" dirty="0">
                <a:solidFill>
                  <a:srgbClr val="FFFFFF"/>
                </a:solidFill>
                <a:latin typeface="+mn-lt"/>
                <a:ea typeface="ＭＳ Ｐゴシック"/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xmlns="" id="{5CF91EAE-FD96-415B-8011-9FD0DF4397E9}"/>
                </a:ext>
              </a:extLst>
            </p:cNvPr>
            <p:cNvSpPr txBox="1">
              <a:spLocks/>
            </p:cNvSpPr>
            <p:nvPr/>
          </p:nvSpPr>
          <p:spPr>
            <a:xfrm>
              <a:off x="2019300" y="1353807"/>
              <a:ext cx="9553575" cy="871266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/>
              <a:r>
                <a:rPr lang="en-GB" sz="1500" dirty="0"/>
                <a:t>20% increase in salesforce productivity within 3 months of implementation launch driven by</a:t>
              </a:r>
            </a:p>
            <a:p>
              <a:pPr lvl="2"/>
              <a:r>
                <a:rPr lang="en-US" sz="1500" dirty="0"/>
                <a:t>35% increase in #visits to retailers</a:t>
              </a:r>
            </a:p>
            <a:p>
              <a:pPr lvl="2"/>
              <a:r>
                <a:rPr lang="en-US" sz="1500" dirty="0"/>
                <a:t>40% increase in #planned visits</a:t>
              </a:r>
            </a:p>
            <a:p>
              <a:pPr lvl="2"/>
              <a:r>
                <a:rPr lang="en-US" sz="1500" dirty="0"/>
                <a:t>71% increase in #unique retailers covered</a:t>
              </a:r>
              <a:endParaRPr lang="en-GB" sz="1500" dirty="0"/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xmlns="" id="{27254C1E-9809-4373-BF62-9402F1C3529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933575" y="2575742"/>
              <a:ext cx="9717075" cy="1120448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19050" cap="flat" cmpd="sng" algn="ctr">
              <a:noFill/>
              <a:prstDash val="solid"/>
            </a:ln>
            <a:effectLst/>
            <a:extLst/>
          </p:spPr>
          <p:txBody>
            <a:bodyPr rtlCol="0" anchor="ctr">
              <a:noAutofit/>
            </a:bodyPr>
            <a:lstStyle/>
            <a:p>
              <a:pPr marL="280035" indent="-280035" algn="ctr" defTabSz="896112" fontAlgn="auto">
                <a:spcBef>
                  <a:spcPts val="0"/>
                </a:spcBef>
                <a:spcAft>
                  <a:spcPts val="0"/>
                </a:spcAft>
                <a:buFont typeface="Wingdings" panose="05000000000000000000" pitchFamily="2" charset="2"/>
                <a:buChar char="§"/>
                <a:defRPr/>
              </a:pPr>
              <a:endParaRPr lang="en-US" sz="1400" kern="0" dirty="0">
                <a:solidFill>
                  <a:srgbClr val="FFFFFF"/>
                </a:solidFill>
                <a:latin typeface="+mn-lt"/>
                <a:ea typeface="ＭＳ Ｐゴシック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xmlns="" id="{609226E9-5170-4114-B614-283A6B97CC55}"/>
                </a:ext>
              </a:extLst>
            </p:cNvPr>
            <p:cNvSpPr txBox="1">
              <a:spLocks/>
            </p:cNvSpPr>
            <p:nvPr/>
          </p:nvSpPr>
          <p:spPr>
            <a:xfrm>
              <a:off x="2019300" y="2657454"/>
              <a:ext cx="9553575" cy="871266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/>
              <a:r>
                <a:rPr lang="en-US" sz="1500" dirty="0"/>
                <a:t>3X increase in the average productivity of the salesman in 12 months</a:t>
              </a:r>
            </a:p>
            <a:p>
              <a:pPr lvl="2"/>
              <a:r>
                <a:rPr lang="en-US" sz="1500" dirty="0"/>
                <a:t>1.4X increase in efforts (Number of consumer interactions and demos)</a:t>
              </a:r>
            </a:p>
            <a:p>
              <a:pPr lvl="2"/>
              <a:r>
                <a:rPr lang="en-US" sz="1500" dirty="0"/>
                <a:t>1.8X increase in average order size per consumer</a:t>
              </a:r>
            </a:p>
            <a:p>
              <a:pPr lvl="2"/>
              <a:r>
                <a:rPr lang="en-US" sz="1500" dirty="0"/>
                <a:t>1.3 X increase in conversion ratio (Conversion/meetings)</a:t>
              </a: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xmlns="" id="{F5793AF2-1688-41AA-BDFC-9CD6FF677F0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933575" y="4993912"/>
              <a:ext cx="9717075" cy="1120448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19050" cap="flat" cmpd="sng" algn="ctr">
              <a:noFill/>
              <a:prstDash val="solid"/>
            </a:ln>
            <a:effectLst/>
            <a:extLst/>
          </p:spPr>
          <p:txBody>
            <a:bodyPr rtlCol="0" anchor="ctr">
              <a:noAutofit/>
            </a:bodyPr>
            <a:lstStyle/>
            <a:p>
              <a:pPr marL="280035" indent="-280035" algn="ctr" defTabSz="896112" fontAlgn="auto">
                <a:spcBef>
                  <a:spcPts val="0"/>
                </a:spcBef>
                <a:spcAft>
                  <a:spcPts val="0"/>
                </a:spcAft>
                <a:buFont typeface="Wingdings" panose="05000000000000000000" pitchFamily="2" charset="2"/>
                <a:buChar char="§"/>
                <a:defRPr/>
              </a:pPr>
              <a:endParaRPr lang="en-US" sz="1400" kern="0" dirty="0">
                <a:solidFill>
                  <a:srgbClr val="FFFFFF"/>
                </a:solidFill>
                <a:latin typeface="+mn-lt"/>
                <a:ea typeface="ＭＳ Ｐゴシック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xmlns="" id="{6837B6A7-AA69-49FF-85A5-44CF7C3FC876}"/>
                </a:ext>
              </a:extLst>
            </p:cNvPr>
            <p:cNvSpPr txBox="1">
              <a:spLocks/>
            </p:cNvSpPr>
            <p:nvPr/>
          </p:nvSpPr>
          <p:spPr>
            <a:xfrm>
              <a:off x="2019300" y="5063457"/>
              <a:ext cx="9553575" cy="871266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/>
              <a:r>
                <a:rPr lang="en-GB" sz="1500" dirty="0"/>
                <a:t>40%+ improvement in overall sales conversion </a:t>
              </a:r>
            </a:p>
            <a:p>
              <a:pPr lvl="2"/>
              <a:r>
                <a:rPr lang="en-US" sz="1500" dirty="0"/>
                <a:t>5x increase in proportion of high priority leads</a:t>
              </a:r>
            </a:p>
            <a:p>
              <a:pPr lvl="2"/>
              <a:r>
                <a:rPr lang="en-US" sz="1500" dirty="0"/>
                <a:t>50% increase in timely follow-up of high priority leads</a:t>
              </a:r>
            </a:p>
            <a:p>
              <a:pPr lvl="2"/>
              <a:r>
                <a:rPr lang="en-US" sz="1500" dirty="0"/>
                <a:t>70% increase in test-drives with high priority leads</a:t>
              </a: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xmlns="" id="{6796A697-07AC-4661-981A-F0E92D1105E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933575" y="3784828"/>
              <a:ext cx="9717075" cy="1120448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19050" cap="flat" cmpd="sng" algn="ctr">
              <a:noFill/>
              <a:prstDash val="solid"/>
            </a:ln>
            <a:effectLst/>
            <a:extLst/>
          </p:spPr>
          <p:txBody>
            <a:bodyPr rtlCol="0" anchor="ctr">
              <a:noAutofit/>
            </a:bodyPr>
            <a:lstStyle/>
            <a:p>
              <a:pPr marL="280035" indent="-280035" algn="ctr" defTabSz="896112" fontAlgn="auto">
                <a:spcBef>
                  <a:spcPts val="0"/>
                </a:spcBef>
                <a:spcAft>
                  <a:spcPts val="0"/>
                </a:spcAft>
                <a:buFont typeface="Wingdings" panose="05000000000000000000" pitchFamily="2" charset="2"/>
                <a:buChar char="§"/>
                <a:defRPr/>
              </a:pPr>
              <a:endParaRPr lang="en-US" sz="1400" kern="0" dirty="0">
                <a:solidFill>
                  <a:srgbClr val="FFFFFF"/>
                </a:solidFill>
                <a:latin typeface="+mn-lt"/>
                <a:ea typeface="ＭＳ Ｐゴシック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xmlns="" id="{875368E0-5001-438D-A5C0-7A5114CD6D28}"/>
                </a:ext>
              </a:extLst>
            </p:cNvPr>
            <p:cNvSpPr txBox="1">
              <a:spLocks/>
            </p:cNvSpPr>
            <p:nvPr/>
          </p:nvSpPr>
          <p:spPr>
            <a:xfrm>
              <a:off x="2019300" y="3800510"/>
              <a:ext cx="9553575" cy="1089081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/>
              <a:r>
                <a:rPr lang="en-GB" sz="1500" dirty="0"/>
                <a:t>5-7% difference in sales target achievement between top quartile and bottom quartile scorers on the Ninja microlearning platform by</a:t>
              </a:r>
            </a:p>
            <a:p>
              <a:pPr lvl="2"/>
              <a:r>
                <a:rPr lang="en-US" sz="1500" dirty="0"/>
                <a:t>91%+ adoption of the learning application</a:t>
              </a:r>
            </a:p>
            <a:p>
              <a:pPr lvl="2"/>
              <a:r>
                <a:rPr lang="en-US" sz="1500" dirty="0"/>
                <a:t>60 mins+ per week spent on Ninja learning, more than their social media time and more than twice their pre Ninja learning tim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26790031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AC9D7E3A-9431-4AD2-9E84-383DE7931D9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0950108"/>
              </p:ext>
            </p:extLst>
          </p:nvPr>
        </p:nvGraphicFramePr>
        <p:xfrm>
          <a:off x="1495425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455" name="think-cell Slide" r:id="rId6" imgW="408" imgH="408" progId="TCLayout.ActiveDocument.1">
                  <p:embed/>
                </p:oleObj>
              </mc:Choice>
              <mc:Fallback>
                <p:oleObj name="think-cell Slide" r:id="rId6" imgW="408" imgH="40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495425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F260F43F-6D03-4EC2-BD08-95502D4E9F1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493837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40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noAutofit/>
          </a:bodyPr>
          <a:lstStyle/>
          <a:p>
            <a:r>
              <a:rPr lang="en-US" dirty="0"/>
              <a:t>Salesforce of the future: from ‘Road Warrior’ to ‘Customer Expert’</a:t>
            </a:r>
          </a:p>
        </p:txBody>
      </p:sp>
      <p:sp>
        <p:nvSpPr>
          <p:cNvPr id="8" name="3. Unit of measure" hidden="1"/>
          <p:cNvSpPr txBox="1">
            <a:spLocks noChangeArrowheads="1"/>
          </p:cNvSpPr>
          <p:nvPr/>
        </p:nvSpPr>
        <p:spPr bwMode="gray">
          <a:xfrm>
            <a:off x="1612901" y="554866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895350">
              <a:defRPr baseline="0">
                <a:solidFill>
                  <a:schemeClr val="accent6"/>
                </a:solidFill>
                <a:latin typeface="+mn-lt"/>
              </a:defRPr>
            </a:lvl1pPr>
            <a:lvl2pPr marL="447675" defTabSz="895350">
              <a:defRPr sz="2400"/>
            </a:lvl2pPr>
            <a:lvl3pPr marL="895350" defTabSz="895350">
              <a:defRPr sz="2400"/>
            </a:lvl3pPr>
            <a:lvl4pPr marL="1344613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en-US" dirty="0"/>
              <a:t>Unit of measure</a:t>
            </a:r>
          </a:p>
        </p:txBody>
      </p:sp>
      <p:sp>
        <p:nvSpPr>
          <p:cNvPr id="167" name="TextBox 166">
            <a:extLst>
              <a:ext uri="{FF2B5EF4-FFF2-40B4-BE49-F238E27FC236}">
                <a16:creationId xmlns:a16="http://schemas.microsoft.com/office/drawing/2014/main" xmlns="" id="{587AA304-7B68-4E5E-8DCC-FB89758DEC6D}"/>
              </a:ext>
            </a:extLst>
          </p:cNvPr>
          <p:cNvSpPr txBox="1">
            <a:spLocks/>
          </p:cNvSpPr>
          <p:nvPr/>
        </p:nvSpPr>
        <p:spPr>
          <a:xfrm>
            <a:off x="158759" y="1071432"/>
            <a:ext cx="11491888" cy="5329369"/>
          </a:xfrm>
          <a:prstGeom prst="rect">
            <a:avLst/>
          </a:prstGeom>
          <a:pattFill prst="dotGrid">
            <a:fgClr>
              <a:schemeClr val="bg1">
                <a:lumMod val="95000"/>
              </a:schemeClr>
            </a:fgClr>
            <a:bgClr>
              <a:schemeClr val="bg1"/>
            </a:bgClr>
          </a:pattFill>
          <a:ln>
            <a:noFill/>
          </a:ln>
        </p:spPr>
        <p:txBody>
          <a:bodyPr vert="horz" wrap="square" lIns="144000" tIns="72009" rIns="72009" bIns="72009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endParaRPr lang="en-GB" sz="1500" b="1" dirty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xmlns="" id="{618F6B27-62F0-4C48-92A8-C90E4DF63A1B}"/>
              </a:ext>
            </a:extLst>
          </p:cNvPr>
          <p:cNvSpPr txBox="1">
            <a:spLocks/>
          </p:cNvSpPr>
          <p:nvPr/>
        </p:nvSpPr>
        <p:spPr>
          <a:xfrm>
            <a:off x="5867463" y="793329"/>
            <a:ext cx="5783187" cy="45320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wrap="square" lIns="72009" tIns="72009" rIns="216000" bIns="72009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r"/>
            <a:r>
              <a:rPr lang="en-GB" sz="2000" b="1" dirty="0">
                <a:solidFill>
                  <a:schemeClr val="bg1"/>
                </a:solidFill>
                <a:latin typeface="Georgia" panose="02040502050405020303" pitchFamily="18" charset="0"/>
              </a:rPr>
              <a:t>To customer expert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xmlns="" id="{98475A0B-15EA-48CF-B7E2-5E19C9091E7A}"/>
              </a:ext>
            </a:extLst>
          </p:cNvPr>
          <p:cNvSpPr txBox="1">
            <a:spLocks/>
          </p:cNvSpPr>
          <p:nvPr/>
        </p:nvSpPr>
        <p:spPr>
          <a:xfrm>
            <a:off x="158759" y="793329"/>
            <a:ext cx="5732717" cy="45320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vert="horz" wrap="square" lIns="144000" tIns="72009" rIns="72009" bIns="72009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GB" sz="2000" b="1" dirty="0">
                <a:solidFill>
                  <a:schemeClr val="bg1"/>
                </a:solidFill>
                <a:latin typeface="Georgia" panose="02040502050405020303" pitchFamily="18" charset="0"/>
              </a:rPr>
              <a:t>From road warrior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xmlns="" id="{4FC7EF2B-4410-465B-A4EA-DA2D7A069B9D}"/>
              </a:ext>
            </a:extLst>
          </p:cNvPr>
          <p:cNvCxnSpPr/>
          <p:nvPr/>
        </p:nvCxnSpPr>
        <p:spPr>
          <a:xfrm>
            <a:off x="186438" y="2120274"/>
            <a:ext cx="4271731" cy="0"/>
          </a:xfrm>
          <a:prstGeom prst="line">
            <a:avLst/>
          </a:prstGeom>
          <a:ln w="9525">
            <a:solidFill>
              <a:srgbClr val="80808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xmlns="" id="{43330F37-6F5C-4F01-9ACB-4C71425C5C75}"/>
              </a:ext>
            </a:extLst>
          </p:cNvPr>
          <p:cNvCxnSpPr>
            <a:cxnSpLocks/>
          </p:cNvCxnSpPr>
          <p:nvPr/>
        </p:nvCxnSpPr>
        <p:spPr>
          <a:xfrm>
            <a:off x="166900" y="4576962"/>
            <a:ext cx="4976600" cy="0"/>
          </a:xfrm>
          <a:prstGeom prst="line">
            <a:avLst/>
          </a:prstGeom>
          <a:ln w="9525">
            <a:solidFill>
              <a:srgbClr val="80808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xmlns="" id="{2DE2B86B-2829-4FD6-8C52-F71F5886E6AF}"/>
              </a:ext>
            </a:extLst>
          </p:cNvPr>
          <p:cNvCxnSpPr>
            <a:cxnSpLocks/>
          </p:cNvCxnSpPr>
          <p:nvPr/>
        </p:nvCxnSpPr>
        <p:spPr>
          <a:xfrm>
            <a:off x="166900" y="5574474"/>
            <a:ext cx="5071850" cy="0"/>
          </a:xfrm>
          <a:prstGeom prst="line">
            <a:avLst/>
          </a:prstGeom>
          <a:ln w="9525">
            <a:solidFill>
              <a:srgbClr val="80808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xmlns="" id="{0C48CB22-19EF-4FA8-9191-D21D8CD194E5}"/>
              </a:ext>
            </a:extLst>
          </p:cNvPr>
          <p:cNvCxnSpPr>
            <a:cxnSpLocks/>
          </p:cNvCxnSpPr>
          <p:nvPr/>
        </p:nvCxnSpPr>
        <p:spPr>
          <a:xfrm>
            <a:off x="6981040" y="2120274"/>
            <a:ext cx="4648070" cy="0"/>
          </a:xfrm>
          <a:prstGeom prst="line">
            <a:avLst/>
          </a:prstGeom>
          <a:ln w="9525">
            <a:solidFill>
              <a:srgbClr val="80808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xmlns="" id="{E3437248-4627-43BF-805B-3AD10C5656C4}"/>
              </a:ext>
            </a:extLst>
          </p:cNvPr>
          <p:cNvCxnSpPr>
            <a:cxnSpLocks/>
          </p:cNvCxnSpPr>
          <p:nvPr/>
        </p:nvCxnSpPr>
        <p:spPr>
          <a:xfrm>
            <a:off x="6300348" y="4576962"/>
            <a:ext cx="5328763" cy="0"/>
          </a:xfrm>
          <a:prstGeom prst="line">
            <a:avLst/>
          </a:prstGeom>
          <a:ln w="9525">
            <a:solidFill>
              <a:srgbClr val="80808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xmlns="" id="{89F1C4E5-DD4A-4E65-8C24-D0F9A1242635}"/>
              </a:ext>
            </a:extLst>
          </p:cNvPr>
          <p:cNvCxnSpPr>
            <a:cxnSpLocks/>
          </p:cNvCxnSpPr>
          <p:nvPr/>
        </p:nvCxnSpPr>
        <p:spPr>
          <a:xfrm>
            <a:off x="6451112" y="5574474"/>
            <a:ext cx="5177998" cy="0"/>
          </a:xfrm>
          <a:prstGeom prst="line">
            <a:avLst/>
          </a:prstGeom>
          <a:ln w="9525">
            <a:solidFill>
              <a:srgbClr val="80808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!ObjectA-00713">
            <a:extLst>
              <a:ext uri="{FF2B5EF4-FFF2-40B4-BE49-F238E27FC236}">
                <a16:creationId xmlns:a16="http://schemas.microsoft.com/office/drawing/2014/main" xmlns="" id="{502EA657-D947-4270-BCB0-C42F6CD90B51}"/>
              </a:ext>
            </a:extLst>
          </p:cNvPr>
          <p:cNvSpPr txBox="1">
            <a:spLocks/>
          </p:cNvSpPr>
          <p:nvPr/>
        </p:nvSpPr>
        <p:spPr>
          <a:xfrm>
            <a:off x="1412174" y="1506103"/>
            <a:ext cx="3045995" cy="46166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GB" sz="1500" dirty="0"/>
              <a:t>Covers an assigned </a:t>
            </a:r>
            <a:br>
              <a:rPr lang="en-GB" sz="1500" dirty="0"/>
            </a:br>
            <a:r>
              <a:rPr lang="en-GB" sz="1500" dirty="0"/>
              <a:t>geographical territory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xmlns="" id="{8C9EEAA5-57AE-4399-B9FE-BB49FCFEBC09}"/>
              </a:ext>
            </a:extLst>
          </p:cNvPr>
          <p:cNvSpPr txBox="1">
            <a:spLocks/>
          </p:cNvSpPr>
          <p:nvPr/>
        </p:nvSpPr>
        <p:spPr>
          <a:xfrm>
            <a:off x="7892421" y="1390687"/>
            <a:ext cx="3736689" cy="4616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GB" sz="1500" dirty="0"/>
              <a:t>Owns micro-markets with estimated potential; irrespective of geographical size</a:t>
            </a:r>
          </a:p>
        </p:txBody>
      </p:sp>
      <p:grpSp>
        <p:nvGrpSpPr>
          <p:cNvPr id="59" name="Group 20">
            <a:extLst>
              <a:ext uri="{FF2B5EF4-FFF2-40B4-BE49-F238E27FC236}">
                <a16:creationId xmlns:a16="http://schemas.microsoft.com/office/drawing/2014/main" xmlns="" id="{7486F044-01AE-4B8A-A66B-5A8A4C350DA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07881" y="1558923"/>
            <a:ext cx="397424" cy="356022"/>
            <a:chOff x="1627" y="919"/>
            <a:chExt cx="2393" cy="2392"/>
          </a:xfrm>
          <a:solidFill>
            <a:schemeClr val="tx2"/>
          </a:solidFill>
        </p:grpSpPr>
        <p:sp>
          <p:nvSpPr>
            <p:cNvPr id="61" name="Freeform 21">
              <a:extLst>
                <a:ext uri="{FF2B5EF4-FFF2-40B4-BE49-F238E27FC236}">
                  <a16:creationId xmlns:a16="http://schemas.microsoft.com/office/drawing/2014/main" xmlns="" id="{605EF924-A908-46EC-8807-201B5DCADD4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27" y="919"/>
              <a:ext cx="1197" cy="1346"/>
            </a:xfrm>
            <a:custGeom>
              <a:avLst/>
              <a:gdLst>
                <a:gd name="T0" fmla="*/ 357 w 678"/>
                <a:gd name="T1" fmla="*/ 0 h 761"/>
                <a:gd name="T2" fmla="*/ 389 w 678"/>
                <a:gd name="T3" fmla="*/ 6 h 761"/>
                <a:gd name="T4" fmla="*/ 581 w 678"/>
                <a:gd name="T5" fmla="*/ 197 h 761"/>
                <a:gd name="T6" fmla="*/ 489 w 678"/>
                <a:gd name="T7" fmla="*/ 453 h 761"/>
                <a:gd name="T8" fmla="*/ 481 w 678"/>
                <a:gd name="T9" fmla="*/ 460 h 761"/>
                <a:gd name="T10" fmla="*/ 678 w 678"/>
                <a:gd name="T11" fmla="*/ 761 h 761"/>
                <a:gd name="T12" fmla="*/ 593 w 678"/>
                <a:gd name="T13" fmla="*/ 761 h 761"/>
                <a:gd name="T14" fmla="*/ 329 w 678"/>
                <a:gd name="T15" fmla="*/ 513 h 761"/>
                <a:gd name="T16" fmla="*/ 84 w 678"/>
                <a:gd name="T17" fmla="*/ 761 h 761"/>
                <a:gd name="T18" fmla="*/ 0 w 678"/>
                <a:gd name="T19" fmla="*/ 761 h 761"/>
                <a:gd name="T20" fmla="*/ 0 w 678"/>
                <a:gd name="T21" fmla="*/ 732 h 761"/>
                <a:gd name="T22" fmla="*/ 2 w 678"/>
                <a:gd name="T23" fmla="*/ 725 h 761"/>
                <a:gd name="T24" fmla="*/ 178 w 678"/>
                <a:gd name="T25" fmla="*/ 470 h 761"/>
                <a:gd name="T26" fmla="*/ 188 w 678"/>
                <a:gd name="T27" fmla="*/ 464 h 761"/>
                <a:gd name="T28" fmla="*/ 182 w 678"/>
                <a:gd name="T29" fmla="*/ 459 h 761"/>
                <a:gd name="T30" fmla="*/ 81 w 678"/>
                <a:gd name="T31" fmla="*/ 206 h 761"/>
                <a:gd name="T32" fmla="*/ 275 w 678"/>
                <a:gd name="T33" fmla="*/ 6 h 761"/>
                <a:gd name="T34" fmla="*/ 307 w 678"/>
                <a:gd name="T35" fmla="*/ 0 h 761"/>
                <a:gd name="T36" fmla="*/ 357 w 678"/>
                <a:gd name="T37" fmla="*/ 0 h 761"/>
                <a:gd name="T38" fmla="*/ 503 w 678"/>
                <a:gd name="T39" fmla="*/ 254 h 761"/>
                <a:gd name="T40" fmla="*/ 332 w 678"/>
                <a:gd name="T41" fmla="*/ 84 h 761"/>
                <a:gd name="T42" fmla="*/ 161 w 678"/>
                <a:gd name="T43" fmla="*/ 253 h 761"/>
                <a:gd name="T44" fmla="*/ 332 w 678"/>
                <a:gd name="T45" fmla="*/ 423 h 761"/>
                <a:gd name="T46" fmla="*/ 503 w 678"/>
                <a:gd name="T47" fmla="*/ 254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78" h="761">
                  <a:moveTo>
                    <a:pt x="357" y="0"/>
                  </a:moveTo>
                  <a:cubicBezTo>
                    <a:pt x="368" y="2"/>
                    <a:pt x="379" y="3"/>
                    <a:pt x="389" y="6"/>
                  </a:cubicBezTo>
                  <a:cubicBezTo>
                    <a:pt x="490" y="33"/>
                    <a:pt x="557" y="95"/>
                    <a:pt x="581" y="197"/>
                  </a:cubicBezTo>
                  <a:cubicBezTo>
                    <a:pt x="605" y="300"/>
                    <a:pt x="571" y="386"/>
                    <a:pt x="489" y="453"/>
                  </a:cubicBezTo>
                  <a:cubicBezTo>
                    <a:pt x="487" y="455"/>
                    <a:pt x="485" y="457"/>
                    <a:pt x="481" y="460"/>
                  </a:cubicBezTo>
                  <a:cubicBezTo>
                    <a:pt x="604" y="523"/>
                    <a:pt x="671" y="621"/>
                    <a:pt x="678" y="761"/>
                  </a:cubicBezTo>
                  <a:cubicBezTo>
                    <a:pt x="648" y="761"/>
                    <a:pt x="621" y="761"/>
                    <a:pt x="593" y="761"/>
                  </a:cubicBezTo>
                  <a:cubicBezTo>
                    <a:pt x="591" y="615"/>
                    <a:pt x="467" y="508"/>
                    <a:pt x="329" y="513"/>
                  </a:cubicBezTo>
                  <a:cubicBezTo>
                    <a:pt x="200" y="518"/>
                    <a:pt x="88" y="618"/>
                    <a:pt x="84" y="761"/>
                  </a:cubicBezTo>
                  <a:cubicBezTo>
                    <a:pt x="56" y="761"/>
                    <a:pt x="28" y="761"/>
                    <a:pt x="0" y="761"/>
                  </a:cubicBezTo>
                  <a:cubicBezTo>
                    <a:pt x="0" y="752"/>
                    <a:pt x="0" y="742"/>
                    <a:pt x="0" y="732"/>
                  </a:cubicBezTo>
                  <a:cubicBezTo>
                    <a:pt x="1" y="730"/>
                    <a:pt x="2" y="727"/>
                    <a:pt x="2" y="725"/>
                  </a:cubicBezTo>
                  <a:cubicBezTo>
                    <a:pt x="17" y="610"/>
                    <a:pt x="78" y="526"/>
                    <a:pt x="178" y="470"/>
                  </a:cubicBezTo>
                  <a:cubicBezTo>
                    <a:pt x="181" y="468"/>
                    <a:pt x="184" y="466"/>
                    <a:pt x="188" y="464"/>
                  </a:cubicBezTo>
                  <a:cubicBezTo>
                    <a:pt x="185" y="461"/>
                    <a:pt x="183" y="460"/>
                    <a:pt x="182" y="459"/>
                  </a:cubicBezTo>
                  <a:cubicBezTo>
                    <a:pt x="98" y="394"/>
                    <a:pt x="61" y="309"/>
                    <a:pt x="81" y="206"/>
                  </a:cubicBezTo>
                  <a:cubicBezTo>
                    <a:pt x="102" y="100"/>
                    <a:pt x="170" y="34"/>
                    <a:pt x="275" y="6"/>
                  </a:cubicBezTo>
                  <a:cubicBezTo>
                    <a:pt x="285" y="3"/>
                    <a:pt x="296" y="2"/>
                    <a:pt x="307" y="0"/>
                  </a:cubicBezTo>
                  <a:cubicBezTo>
                    <a:pt x="323" y="0"/>
                    <a:pt x="340" y="0"/>
                    <a:pt x="357" y="0"/>
                  </a:cubicBezTo>
                  <a:close/>
                  <a:moveTo>
                    <a:pt x="503" y="254"/>
                  </a:moveTo>
                  <a:cubicBezTo>
                    <a:pt x="503" y="160"/>
                    <a:pt x="426" y="84"/>
                    <a:pt x="332" y="84"/>
                  </a:cubicBezTo>
                  <a:cubicBezTo>
                    <a:pt x="237" y="85"/>
                    <a:pt x="161" y="160"/>
                    <a:pt x="161" y="253"/>
                  </a:cubicBezTo>
                  <a:cubicBezTo>
                    <a:pt x="160" y="347"/>
                    <a:pt x="237" y="423"/>
                    <a:pt x="332" y="423"/>
                  </a:cubicBezTo>
                  <a:cubicBezTo>
                    <a:pt x="426" y="423"/>
                    <a:pt x="503" y="347"/>
                    <a:pt x="503" y="2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500">
                <a:solidFill>
                  <a:schemeClr val="tx2"/>
                </a:solidFill>
              </a:endParaRPr>
            </a:p>
          </p:txBody>
        </p:sp>
        <p:sp>
          <p:nvSpPr>
            <p:cNvPr id="62" name="Freeform 22">
              <a:extLst>
                <a:ext uri="{FF2B5EF4-FFF2-40B4-BE49-F238E27FC236}">
                  <a16:creationId xmlns:a16="http://schemas.microsoft.com/office/drawing/2014/main" xmlns="" id="{96D233A5-20D2-4101-93DE-15F9D5177FC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21" y="1918"/>
              <a:ext cx="1199" cy="1393"/>
            </a:xfrm>
            <a:custGeom>
              <a:avLst/>
              <a:gdLst>
                <a:gd name="T0" fmla="*/ 85 w 679"/>
                <a:gd name="T1" fmla="*/ 788 h 788"/>
                <a:gd name="T2" fmla="*/ 0 w 679"/>
                <a:gd name="T3" fmla="*/ 788 h 788"/>
                <a:gd name="T4" fmla="*/ 188 w 679"/>
                <a:gd name="T5" fmla="*/ 491 h 788"/>
                <a:gd name="T6" fmla="*/ 77 w 679"/>
                <a:gd name="T7" fmla="*/ 271 h 788"/>
                <a:gd name="T8" fmla="*/ 157 w 679"/>
                <a:gd name="T9" fmla="*/ 97 h 788"/>
                <a:gd name="T10" fmla="*/ 519 w 679"/>
                <a:gd name="T11" fmla="*/ 106 h 788"/>
                <a:gd name="T12" fmla="*/ 483 w 679"/>
                <a:gd name="T13" fmla="*/ 487 h 788"/>
                <a:gd name="T14" fmla="*/ 679 w 679"/>
                <a:gd name="T15" fmla="*/ 788 h 788"/>
                <a:gd name="T16" fmla="*/ 594 w 679"/>
                <a:gd name="T17" fmla="*/ 788 h 788"/>
                <a:gd name="T18" fmla="*/ 487 w 679"/>
                <a:gd name="T19" fmla="*/ 587 h 788"/>
                <a:gd name="T20" fmla="*/ 323 w 679"/>
                <a:gd name="T21" fmla="*/ 541 h 788"/>
                <a:gd name="T22" fmla="*/ 85 w 679"/>
                <a:gd name="T23" fmla="*/ 788 h 788"/>
                <a:gd name="T24" fmla="*/ 504 w 679"/>
                <a:gd name="T25" fmla="*/ 281 h 788"/>
                <a:gd name="T26" fmla="*/ 332 w 679"/>
                <a:gd name="T27" fmla="*/ 112 h 788"/>
                <a:gd name="T28" fmla="*/ 162 w 679"/>
                <a:gd name="T29" fmla="*/ 281 h 788"/>
                <a:gd name="T30" fmla="*/ 333 w 679"/>
                <a:gd name="T31" fmla="*/ 450 h 788"/>
                <a:gd name="T32" fmla="*/ 504 w 679"/>
                <a:gd name="T33" fmla="*/ 281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79" h="788">
                  <a:moveTo>
                    <a:pt x="85" y="788"/>
                  </a:moveTo>
                  <a:cubicBezTo>
                    <a:pt x="57" y="788"/>
                    <a:pt x="30" y="788"/>
                    <a:pt x="0" y="788"/>
                  </a:cubicBezTo>
                  <a:cubicBezTo>
                    <a:pt x="6" y="653"/>
                    <a:pt x="71" y="556"/>
                    <a:pt x="188" y="491"/>
                  </a:cubicBezTo>
                  <a:cubicBezTo>
                    <a:pt x="114" y="436"/>
                    <a:pt x="75" y="364"/>
                    <a:pt x="77" y="271"/>
                  </a:cubicBezTo>
                  <a:cubicBezTo>
                    <a:pt x="80" y="202"/>
                    <a:pt x="107" y="144"/>
                    <a:pt x="157" y="97"/>
                  </a:cubicBezTo>
                  <a:cubicBezTo>
                    <a:pt x="258" y="0"/>
                    <a:pt x="420" y="5"/>
                    <a:pt x="519" y="106"/>
                  </a:cubicBezTo>
                  <a:cubicBezTo>
                    <a:pt x="618" y="208"/>
                    <a:pt x="618" y="388"/>
                    <a:pt x="483" y="487"/>
                  </a:cubicBezTo>
                  <a:cubicBezTo>
                    <a:pt x="605" y="550"/>
                    <a:pt x="672" y="649"/>
                    <a:pt x="679" y="788"/>
                  </a:cubicBezTo>
                  <a:cubicBezTo>
                    <a:pt x="649" y="788"/>
                    <a:pt x="622" y="788"/>
                    <a:pt x="594" y="788"/>
                  </a:cubicBezTo>
                  <a:cubicBezTo>
                    <a:pt x="591" y="704"/>
                    <a:pt x="556" y="636"/>
                    <a:pt x="487" y="587"/>
                  </a:cubicBezTo>
                  <a:cubicBezTo>
                    <a:pt x="438" y="552"/>
                    <a:pt x="383" y="537"/>
                    <a:pt x="323" y="541"/>
                  </a:cubicBezTo>
                  <a:cubicBezTo>
                    <a:pt x="197" y="549"/>
                    <a:pt x="89" y="648"/>
                    <a:pt x="85" y="788"/>
                  </a:cubicBezTo>
                  <a:close/>
                  <a:moveTo>
                    <a:pt x="504" y="281"/>
                  </a:moveTo>
                  <a:cubicBezTo>
                    <a:pt x="504" y="187"/>
                    <a:pt x="427" y="111"/>
                    <a:pt x="332" y="112"/>
                  </a:cubicBezTo>
                  <a:cubicBezTo>
                    <a:pt x="238" y="112"/>
                    <a:pt x="162" y="187"/>
                    <a:pt x="162" y="281"/>
                  </a:cubicBezTo>
                  <a:cubicBezTo>
                    <a:pt x="162" y="374"/>
                    <a:pt x="238" y="450"/>
                    <a:pt x="333" y="450"/>
                  </a:cubicBezTo>
                  <a:cubicBezTo>
                    <a:pt x="428" y="450"/>
                    <a:pt x="504" y="374"/>
                    <a:pt x="504" y="28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500">
                <a:solidFill>
                  <a:schemeClr val="tx2"/>
                </a:solidFill>
              </a:endParaRPr>
            </a:p>
          </p:txBody>
        </p:sp>
        <p:sp>
          <p:nvSpPr>
            <p:cNvPr id="63" name="Freeform 23">
              <a:extLst>
                <a:ext uri="{FF2B5EF4-FFF2-40B4-BE49-F238E27FC236}">
                  <a16:creationId xmlns:a16="http://schemas.microsoft.com/office/drawing/2014/main" xmlns="" id="{838A51AD-CD8D-4E3E-B906-EF3CC1BF95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777" y="2565"/>
              <a:ext cx="897" cy="746"/>
            </a:xfrm>
            <a:custGeom>
              <a:avLst/>
              <a:gdLst>
                <a:gd name="T0" fmla="*/ 342 w 508"/>
                <a:gd name="T1" fmla="*/ 52 h 422"/>
                <a:gd name="T2" fmla="*/ 508 w 508"/>
                <a:gd name="T3" fmla="*/ 255 h 422"/>
                <a:gd name="T4" fmla="*/ 305 w 508"/>
                <a:gd name="T5" fmla="*/ 422 h 422"/>
                <a:gd name="T6" fmla="*/ 251 w 508"/>
                <a:gd name="T7" fmla="*/ 356 h 422"/>
                <a:gd name="T8" fmla="*/ 334 w 508"/>
                <a:gd name="T9" fmla="*/ 288 h 422"/>
                <a:gd name="T10" fmla="*/ 99 w 508"/>
                <a:gd name="T11" fmla="*/ 218 h 422"/>
                <a:gd name="T12" fmla="*/ 0 w 508"/>
                <a:gd name="T13" fmla="*/ 0 h 422"/>
                <a:gd name="T14" fmla="*/ 85 w 508"/>
                <a:gd name="T15" fmla="*/ 0 h 422"/>
                <a:gd name="T16" fmla="*/ 189 w 508"/>
                <a:gd name="T17" fmla="*/ 176 h 422"/>
                <a:gd name="T18" fmla="*/ 352 w 508"/>
                <a:gd name="T19" fmla="*/ 198 h 422"/>
                <a:gd name="T20" fmla="*/ 314 w 508"/>
                <a:gd name="T21" fmla="*/ 152 h 422"/>
                <a:gd name="T22" fmla="*/ 277 w 508"/>
                <a:gd name="T23" fmla="*/ 106 h 422"/>
                <a:gd name="T24" fmla="*/ 342 w 508"/>
                <a:gd name="T25" fmla="*/ 52 h 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08" h="422">
                  <a:moveTo>
                    <a:pt x="342" y="52"/>
                  </a:moveTo>
                  <a:cubicBezTo>
                    <a:pt x="398" y="120"/>
                    <a:pt x="452" y="187"/>
                    <a:pt x="508" y="255"/>
                  </a:cubicBezTo>
                  <a:cubicBezTo>
                    <a:pt x="440" y="311"/>
                    <a:pt x="373" y="366"/>
                    <a:pt x="305" y="422"/>
                  </a:cubicBezTo>
                  <a:cubicBezTo>
                    <a:pt x="287" y="400"/>
                    <a:pt x="270" y="378"/>
                    <a:pt x="251" y="356"/>
                  </a:cubicBezTo>
                  <a:cubicBezTo>
                    <a:pt x="279" y="334"/>
                    <a:pt x="305" y="312"/>
                    <a:pt x="334" y="288"/>
                  </a:cubicBezTo>
                  <a:cubicBezTo>
                    <a:pt x="245" y="296"/>
                    <a:pt x="168" y="270"/>
                    <a:pt x="99" y="218"/>
                  </a:cubicBezTo>
                  <a:cubicBezTo>
                    <a:pt x="28" y="163"/>
                    <a:pt x="0" y="89"/>
                    <a:pt x="0" y="0"/>
                  </a:cubicBezTo>
                  <a:cubicBezTo>
                    <a:pt x="28" y="0"/>
                    <a:pt x="55" y="0"/>
                    <a:pt x="85" y="0"/>
                  </a:cubicBezTo>
                  <a:cubicBezTo>
                    <a:pt x="81" y="81"/>
                    <a:pt x="118" y="138"/>
                    <a:pt x="189" y="176"/>
                  </a:cubicBezTo>
                  <a:cubicBezTo>
                    <a:pt x="238" y="203"/>
                    <a:pt x="305" y="213"/>
                    <a:pt x="352" y="198"/>
                  </a:cubicBezTo>
                  <a:cubicBezTo>
                    <a:pt x="339" y="182"/>
                    <a:pt x="327" y="167"/>
                    <a:pt x="314" y="152"/>
                  </a:cubicBezTo>
                  <a:cubicBezTo>
                    <a:pt x="302" y="137"/>
                    <a:pt x="290" y="122"/>
                    <a:pt x="277" y="106"/>
                  </a:cubicBezTo>
                  <a:cubicBezTo>
                    <a:pt x="298" y="88"/>
                    <a:pt x="320" y="71"/>
                    <a:pt x="342" y="5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500">
                <a:solidFill>
                  <a:schemeClr val="tx2"/>
                </a:solidFill>
              </a:endParaRPr>
            </a:p>
          </p:txBody>
        </p:sp>
        <p:sp>
          <p:nvSpPr>
            <p:cNvPr id="118784" name="Freeform 24">
              <a:extLst>
                <a:ext uri="{FF2B5EF4-FFF2-40B4-BE49-F238E27FC236}">
                  <a16:creationId xmlns:a16="http://schemas.microsoft.com/office/drawing/2014/main" xmlns="" id="{D20AA7AA-92B3-4903-82A3-AA015F13A9B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23" y="1165"/>
              <a:ext cx="902" cy="691"/>
            </a:xfrm>
            <a:custGeom>
              <a:avLst/>
              <a:gdLst>
                <a:gd name="T0" fmla="*/ 403 w 511"/>
                <a:gd name="T1" fmla="*/ 219 h 391"/>
                <a:gd name="T2" fmla="*/ 429 w 511"/>
                <a:gd name="T3" fmla="*/ 116 h 391"/>
                <a:gd name="T4" fmla="*/ 511 w 511"/>
                <a:gd name="T5" fmla="*/ 137 h 391"/>
                <a:gd name="T6" fmla="*/ 446 w 511"/>
                <a:gd name="T7" fmla="*/ 391 h 391"/>
                <a:gd name="T8" fmla="*/ 192 w 511"/>
                <a:gd name="T9" fmla="*/ 326 h 391"/>
                <a:gd name="T10" fmla="*/ 213 w 511"/>
                <a:gd name="T11" fmla="*/ 245 h 391"/>
                <a:gd name="T12" fmla="*/ 330 w 511"/>
                <a:gd name="T13" fmla="*/ 274 h 391"/>
                <a:gd name="T14" fmla="*/ 320 w 511"/>
                <a:gd name="T15" fmla="*/ 242 h 391"/>
                <a:gd name="T16" fmla="*/ 157 w 511"/>
                <a:gd name="T17" fmla="*/ 95 h 391"/>
                <a:gd name="T18" fmla="*/ 67 w 511"/>
                <a:gd name="T19" fmla="*/ 102 h 391"/>
                <a:gd name="T20" fmla="*/ 35 w 511"/>
                <a:gd name="T21" fmla="*/ 115 h 391"/>
                <a:gd name="T22" fmla="*/ 0 w 511"/>
                <a:gd name="T23" fmla="*/ 39 h 391"/>
                <a:gd name="T24" fmla="*/ 101 w 511"/>
                <a:gd name="T25" fmla="*/ 9 h 391"/>
                <a:gd name="T26" fmla="*/ 342 w 511"/>
                <a:gd name="T27" fmla="*/ 115 h 391"/>
                <a:gd name="T28" fmla="*/ 399 w 511"/>
                <a:gd name="T29" fmla="*/ 212 h 391"/>
                <a:gd name="T30" fmla="*/ 403 w 511"/>
                <a:gd name="T31" fmla="*/ 219 h 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11" h="391">
                  <a:moveTo>
                    <a:pt x="403" y="219"/>
                  </a:moveTo>
                  <a:cubicBezTo>
                    <a:pt x="412" y="183"/>
                    <a:pt x="420" y="150"/>
                    <a:pt x="429" y="116"/>
                  </a:cubicBezTo>
                  <a:cubicBezTo>
                    <a:pt x="457" y="123"/>
                    <a:pt x="483" y="130"/>
                    <a:pt x="511" y="137"/>
                  </a:cubicBezTo>
                  <a:cubicBezTo>
                    <a:pt x="489" y="221"/>
                    <a:pt x="468" y="305"/>
                    <a:pt x="446" y="391"/>
                  </a:cubicBezTo>
                  <a:cubicBezTo>
                    <a:pt x="361" y="369"/>
                    <a:pt x="277" y="348"/>
                    <a:pt x="192" y="326"/>
                  </a:cubicBezTo>
                  <a:cubicBezTo>
                    <a:pt x="199" y="299"/>
                    <a:pt x="206" y="272"/>
                    <a:pt x="213" y="245"/>
                  </a:cubicBezTo>
                  <a:cubicBezTo>
                    <a:pt x="252" y="254"/>
                    <a:pt x="290" y="264"/>
                    <a:pt x="330" y="274"/>
                  </a:cubicBezTo>
                  <a:cubicBezTo>
                    <a:pt x="326" y="262"/>
                    <a:pt x="324" y="252"/>
                    <a:pt x="320" y="242"/>
                  </a:cubicBezTo>
                  <a:cubicBezTo>
                    <a:pt x="290" y="166"/>
                    <a:pt x="235" y="117"/>
                    <a:pt x="157" y="95"/>
                  </a:cubicBezTo>
                  <a:cubicBezTo>
                    <a:pt x="126" y="87"/>
                    <a:pt x="96" y="93"/>
                    <a:pt x="67" y="102"/>
                  </a:cubicBezTo>
                  <a:cubicBezTo>
                    <a:pt x="57" y="106"/>
                    <a:pt x="46" y="110"/>
                    <a:pt x="35" y="115"/>
                  </a:cubicBezTo>
                  <a:cubicBezTo>
                    <a:pt x="23" y="90"/>
                    <a:pt x="12" y="65"/>
                    <a:pt x="0" y="39"/>
                  </a:cubicBezTo>
                  <a:cubicBezTo>
                    <a:pt x="32" y="23"/>
                    <a:pt x="66" y="12"/>
                    <a:pt x="101" y="9"/>
                  </a:cubicBezTo>
                  <a:cubicBezTo>
                    <a:pt x="200" y="0"/>
                    <a:pt x="277" y="46"/>
                    <a:pt x="342" y="115"/>
                  </a:cubicBezTo>
                  <a:cubicBezTo>
                    <a:pt x="368" y="143"/>
                    <a:pt x="387" y="176"/>
                    <a:pt x="399" y="212"/>
                  </a:cubicBezTo>
                  <a:cubicBezTo>
                    <a:pt x="400" y="214"/>
                    <a:pt x="401" y="215"/>
                    <a:pt x="403" y="2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500">
                <a:solidFill>
                  <a:schemeClr val="tx2"/>
                </a:solidFill>
              </a:endParaRPr>
            </a:p>
          </p:txBody>
        </p:sp>
      </p:grpSp>
      <p:sp>
        <p:nvSpPr>
          <p:cNvPr id="128" name="TextBox 127">
            <a:extLst>
              <a:ext uri="{FF2B5EF4-FFF2-40B4-BE49-F238E27FC236}">
                <a16:creationId xmlns:a16="http://schemas.microsoft.com/office/drawing/2014/main" xmlns="" id="{9EAA47A8-E1EE-4B01-B59F-AE41A3FBB925}"/>
              </a:ext>
            </a:extLst>
          </p:cNvPr>
          <p:cNvSpPr txBox="1">
            <a:spLocks/>
          </p:cNvSpPr>
          <p:nvPr/>
        </p:nvSpPr>
        <p:spPr>
          <a:xfrm>
            <a:off x="315458" y="1510335"/>
            <a:ext cx="344707" cy="45320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GB" sz="2800" dirty="0">
                <a:solidFill>
                  <a:schemeClr val="tx2"/>
                </a:solidFill>
                <a:latin typeface="Georgia" panose="02040502050405020303" pitchFamily="18" charset="0"/>
              </a:rPr>
              <a:t>1</a:t>
            </a:r>
          </a:p>
        </p:txBody>
      </p:sp>
      <p:sp>
        <p:nvSpPr>
          <p:cNvPr id="18" name="!ObjectB-00049">
            <a:extLst>
              <a:ext uri="{FF2B5EF4-FFF2-40B4-BE49-F238E27FC236}">
                <a16:creationId xmlns:a16="http://schemas.microsoft.com/office/drawing/2014/main" xmlns="" id="{480B6383-E1C2-4D96-95E7-E86DC0D4D0AD}"/>
              </a:ext>
            </a:extLst>
          </p:cNvPr>
          <p:cNvSpPr txBox="1">
            <a:spLocks/>
          </p:cNvSpPr>
          <p:nvPr/>
        </p:nvSpPr>
        <p:spPr>
          <a:xfrm>
            <a:off x="1412174" y="2388199"/>
            <a:ext cx="3045995" cy="69249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GB" sz="1500" dirty="0"/>
              <a:t>Unstructured sales</a:t>
            </a:r>
            <a:br>
              <a:rPr lang="en-GB" sz="1500" dirty="0"/>
            </a:br>
            <a:r>
              <a:rPr lang="en-GB" sz="1500" dirty="0"/>
              <a:t>planning and manual recording of market input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xmlns="" id="{8C6B1E28-9B55-40A3-B051-8848131DAA54}"/>
              </a:ext>
            </a:extLst>
          </p:cNvPr>
          <p:cNvSpPr txBox="1">
            <a:spLocks/>
          </p:cNvSpPr>
          <p:nvPr/>
        </p:nvSpPr>
        <p:spPr>
          <a:xfrm>
            <a:off x="7892421" y="2225945"/>
            <a:ext cx="3736689" cy="9233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GB" sz="1500" dirty="0"/>
              <a:t>End to end sales planning and structured gathering of market intelligence, manages self-performance supported through digital platforms</a:t>
            </a:r>
          </a:p>
        </p:txBody>
      </p:sp>
      <p:grpSp>
        <p:nvGrpSpPr>
          <p:cNvPr id="118788" name="Group 30">
            <a:extLst>
              <a:ext uri="{FF2B5EF4-FFF2-40B4-BE49-F238E27FC236}">
                <a16:creationId xmlns:a16="http://schemas.microsoft.com/office/drawing/2014/main" xmlns="" id="{83D96448-27DF-4896-8DB5-7AD6FA92C6F1}"/>
              </a:ext>
            </a:extLst>
          </p:cNvPr>
          <p:cNvGrpSpPr>
            <a:grpSpLocks/>
          </p:cNvGrpSpPr>
          <p:nvPr/>
        </p:nvGrpSpPr>
        <p:grpSpPr bwMode="auto">
          <a:xfrm>
            <a:off x="826937" y="2518052"/>
            <a:ext cx="326441" cy="432791"/>
            <a:chOff x="2424" y="1591"/>
            <a:chExt cx="795" cy="1054"/>
          </a:xfrm>
          <a:solidFill>
            <a:schemeClr val="tx2"/>
          </a:solidFill>
        </p:grpSpPr>
        <p:sp>
          <p:nvSpPr>
            <p:cNvPr id="118790" name="Freeform 31">
              <a:extLst>
                <a:ext uri="{FF2B5EF4-FFF2-40B4-BE49-F238E27FC236}">
                  <a16:creationId xmlns:a16="http://schemas.microsoft.com/office/drawing/2014/main" xmlns="" id="{C8D15852-71BC-4A45-8E12-620E1FAC05D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24" y="1591"/>
              <a:ext cx="795" cy="1054"/>
            </a:xfrm>
            <a:custGeom>
              <a:avLst/>
              <a:gdLst>
                <a:gd name="T0" fmla="*/ 344 w 448"/>
                <a:gd name="T1" fmla="*/ 0 h 595"/>
                <a:gd name="T2" fmla="*/ 438 w 448"/>
                <a:gd name="T3" fmla="*/ 94 h 595"/>
                <a:gd name="T4" fmla="*/ 448 w 448"/>
                <a:gd name="T5" fmla="*/ 118 h 595"/>
                <a:gd name="T6" fmla="*/ 448 w 448"/>
                <a:gd name="T7" fmla="*/ 576 h 595"/>
                <a:gd name="T8" fmla="*/ 442 w 448"/>
                <a:gd name="T9" fmla="*/ 595 h 595"/>
                <a:gd name="T10" fmla="*/ 6 w 448"/>
                <a:gd name="T11" fmla="*/ 595 h 595"/>
                <a:gd name="T12" fmla="*/ 0 w 448"/>
                <a:gd name="T13" fmla="*/ 578 h 595"/>
                <a:gd name="T14" fmla="*/ 0 w 448"/>
                <a:gd name="T15" fmla="*/ 18 h 595"/>
                <a:gd name="T16" fmla="*/ 6 w 448"/>
                <a:gd name="T17" fmla="*/ 0 h 595"/>
                <a:gd name="T18" fmla="*/ 344 w 448"/>
                <a:gd name="T19" fmla="*/ 0 h 595"/>
                <a:gd name="T20" fmla="*/ 423 w 448"/>
                <a:gd name="T21" fmla="*/ 571 h 595"/>
                <a:gd name="T22" fmla="*/ 423 w 448"/>
                <a:gd name="T23" fmla="*/ 122 h 595"/>
                <a:gd name="T24" fmla="*/ 351 w 448"/>
                <a:gd name="T25" fmla="*/ 122 h 595"/>
                <a:gd name="T26" fmla="*/ 328 w 448"/>
                <a:gd name="T27" fmla="*/ 98 h 595"/>
                <a:gd name="T28" fmla="*/ 328 w 448"/>
                <a:gd name="T29" fmla="*/ 25 h 595"/>
                <a:gd name="T30" fmla="*/ 25 w 448"/>
                <a:gd name="T31" fmla="*/ 25 h 595"/>
                <a:gd name="T32" fmla="*/ 25 w 448"/>
                <a:gd name="T33" fmla="*/ 571 h 595"/>
                <a:gd name="T34" fmla="*/ 423 w 448"/>
                <a:gd name="T35" fmla="*/ 571 h 595"/>
                <a:gd name="T36" fmla="*/ 352 w 448"/>
                <a:gd name="T37" fmla="*/ 46 h 595"/>
                <a:gd name="T38" fmla="*/ 352 w 448"/>
                <a:gd name="T39" fmla="*/ 97 h 595"/>
                <a:gd name="T40" fmla="*/ 403 w 448"/>
                <a:gd name="T41" fmla="*/ 97 h 595"/>
                <a:gd name="T42" fmla="*/ 352 w 448"/>
                <a:gd name="T43" fmla="*/ 46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48" h="595">
                  <a:moveTo>
                    <a:pt x="344" y="0"/>
                  </a:moveTo>
                  <a:cubicBezTo>
                    <a:pt x="375" y="32"/>
                    <a:pt x="407" y="63"/>
                    <a:pt x="438" y="94"/>
                  </a:cubicBezTo>
                  <a:cubicBezTo>
                    <a:pt x="445" y="101"/>
                    <a:pt x="448" y="108"/>
                    <a:pt x="448" y="118"/>
                  </a:cubicBezTo>
                  <a:cubicBezTo>
                    <a:pt x="448" y="270"/>
                    <a:pt x="448" y="423"/>
                    <a:pt x="448" y="576"/>
                  </a:cubicBezTo>
                  <a:cubicBezTo>
                    <a:pt x="448" y="583"/>
                    <a:pt x="444" y="589"/>
                    <a:pt x="442" y="595"/>
                  </a:cubicBezTo>
                  <a:cubicBezTo>
                    <a:pt x="297" y="595"/>
                    <a:pt x="151" y="595"/>
                    <a:pt x="6" y="595"/>
                  </a:cubicBezTo>
                  <a:cubicBezTo>
                    <a:pt x="4" y="589"/>
                    <a:pt x="0" y="583"/>
                    <a:pt x="0" y="578"/>
                  </a:cubicBezTo>
                  <a:cubicBezTo>
                    <a:pt x="0" y="391"/>
                    <a:pt x="0" y="205"/>
                    <a:pt x="0" y="18"/>
                  </a:cubicBezTo>
                  <a:cubicBezTo>
                    <a:pt x="0" y="12"/>
                    <a:pt x="4" y="6"/>
                    <a:pt x="6" y="0"/>
                  </a:cubicBezTo>
                  <a:cubicBezTo>
                    <a:pt x="119" y="0"/>
                    <a:pt x="231" y="0"/>
                    <a:pt x="344" y="0"/>
                  </a:cubicBezTo>
                  <a:close/>
                  <a:moveTo>
                    <a:pt x="423" y="571"/>
                  </a:moveTo>
                  <a:cubicBezTo>
                    <a:pt x="423" y="421"/>
                    <a:pt x="423" y="272"/>
                    <a:pt x="423" y="122"/>
                  </a:cubicBezTo>
                  <a:cubicBezTo>
                    <a:pt x="399" y="122"/>
                    <a:pt x="375" y="122"/>
                    <a:pt x="351" y="122"/>
                  </a:cubicBezTo>
                  <a:cubicBezTo>
                    <a:pt x="328" y="122"/>
                    <a:pt x="328" y="121"/>
                    <a:pt x="328" y="98"/>
                  </a:cubicBezTo>
                  <a:cubicBezTo>
                    <a:pt x="328" y="74"/>
                    <a:pt x="328" y="49"/>
                    <a:pt x="328" y="25"/>
                  </a:cubicBezTo>
                  <a:cubicBezTo>
                    <a:pt x="226" y="25"/>
                    <a:pt x="125" y="25"/>
                    <a:pt x="25" y="25"/>
                  </a:cubicBezTo>
                  <a:cubicBezTo>
                    <a:pt x="25" y="207"/>
                    <a:pt x="25" y="389"/>
                    <a:pt x="25" y="571"/>
                  </a:cubicBezTo>
                  <a:cubicBezTo>
                    <a:pt x="158" y="571"/>
                    <a:pt x="290" y="571"/>
                    <a:pt x="423" y="571"/>
                  </a:cubicBezTo>
                  <a:close/>
                  <a:moveTo>
                    <a:pt x="352" y="46"/>
                  </a:moveTo>
                  <a:cubicBezTo>
                    <a:pt x="352" y="62"/>
                    <a:pt x="352" y="80"/>
                    <a:pt x="352" y="97"/>
                  </a:cubicBezTo>
                  <a:cubicBezTo>
                    <a:pt x="370" y="97"/>
                    <a:pt x="387" y="97"/>
                    <a:pt x="403" y="97"/>
                  </a:cubicBezTo>
                  <a:cubicBezTo>
                    <a:pt x="386" y="80"/>
                    <a:pt x="369" y="63"/>
                    <a:pt x="352" y="4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500">
                <a:solidFill>
                  <a:schemeClr val="tx2"/>
                </a:solidFill>
              </a:endParaRPr>
            </a:p>
          </p:txBody>
        </p:sp>
        <p:sp>
          <p:nvSpPr>
            <p:cNvPr id="118791" name="Freeform 32">
              <a:extLst>
                <a:ext uri="{FF2B5EF4-FFF2-40B4-BE49-F238E27FC236}">
                  <a16:creationId xmlns:a16="http://schemas.microsoft.com/office/drawing/2014/main" xmlns="" id="{A568EDF2-C38B-42F8-B6E2-D685AE0967A0}"/>
                </a:ext>
              </a:extLst>
            </p:cNvPr>
            <p:cNvSpPr>
              <a:spLocks/>
            </p:cNvSpPr>
            <p:nvPr/>
          </p:nvSpPr>
          <p:spPr bwMode="auto">
            <a:xfrm>
              <a:off x="2554" y="1926"/>
              <a:ext cx="420" cy="419"/>
            </a:xfrm>
            <a:custGeom>
              <a:avLst/>
              <a:gdLst>
                <a:gd name="T0" fmla="*/ 222 w 237"/>
                <a:gd name="T1" fmla="*/ 63 h 237"/>
                <a:gd name="T2" fmla="*/ 194 w 237"/>
                <a:gd name="T3" fmla="*/ 39 h 237"/>
                <a:gd name="T4" fmla="*/ 0 w 237"/>
                <a:gd name="T5" fmla="*/ 237 h 237"/>
                <a:gd name="T6" fmla="*/ 0 w 237"/>
                <a:gd name="T7" fmla="*/ 213 h 237"/>
                <a:gd name="T8" fmla="*/ 146 w 237"/>
                <a:gd name="T9" fmla="*/ 134 h 237"/>
                <a:gd name="T10" fmla="*/ 169 w 237"/>
                <a:gd name="T11" fmla="*/ 39 h 237"/>
                <a:gd name="T12" fmla="*/ 140 w 237"/>
                <a:gd name="T13" fmla="*/ 63 h 237"/>
                <a:gd name="T14" fmla="*/ 125 w 237"/>
                <a:gd name="T15" fmla="*/ 45 h 237"/>
                <a:gd name="T16" fmla="*/ 174 w 237"/>
                <a:gd name="T17" fmla="*/ 3 h 237"/>
                <a:gd name="T18" fmla="*/ 190 w 237"/>
                <a:gd name="T19" fmla="*/ 4 h 237"/>
                <a:gd name="T20" fmla="*/ 237 w 237"/>
                <a:gd name="T21" fmla="*/ 45 h 237"/>
                <a:gd name="T22" fmla="*/ 222 w 237"/>
                <a:gd name="T23" fmla="*/ 63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37" h="237">
                  <a:moveTo>
                    <a:pt x="222" y="63"/>
                  </a:moveTo>
                  <a:cubicBezTo>
                    <a:pt x="213" y="55"/>
                    <a:pt x="204" y="48"/>
                    <a:pt x="194" y="39"/>
                  </a:cubicBezTo>
                  <a:cubicBezTo>
                    <a:pt x="190" y="165"/>
                    <a:pt x="117" y="222"/>
                    <a:pt x="0" y="237"/>
                  </a:cubicBezTo>
                  <a:cubicBezTo>
                    <a:pt x="0" y="228"/>
                    <a:pt x="0" y="221"/>
                    <a:pt x="0" y="213"/>
                  </a:cubicBezTo>
                  <a:cubicBezTo>
                    <a:pt x="58" y="206"/>
                    <a:pt x="112" y="187"/>
                    <a:pt x="146" y="134"/>
                  </a:cubicBezTo>
                  <a:cubicBezTo>
                    <a:pt x="164" y="106"/>
                    <a:pt x="170" y="74"/>
                    <a:pt x="169" y="39"/>
                  </a:cubicBezTo>
                  <a:cubicBezTo>
                    <a:pt x="159" y="47"/>
                    <a:pt x="150" y="55"/>
                    <a:pt x="140" y="63"/>
                  </a:cubicBezTo>
                  <a:cubicBezTo>
                    <a:pt x="136" y="57"/>
                    <a:pt x="131" y="52"/>
                    <a:pt x="125" y="45"/>
                  </a:cubicBezTo>
                  <a:cubicBezTo>
                    <a:pt x="141" y="31"/>
                    <a:pt x="157" y="16"/>
                    <a:pt x="174" y="3"/>
                  </a:cubicBezTo>
                  <a:cubicBezTo>
                    <a:pt x="177" y="0"/>
                    <a:pt x="186" y="1"/>
                    <a:pt x="190" y="4"/>
                  </a:cubicBezTo>
                  <a:cubicBezTo>
                    <a:pt x="206" y="17"/>
                    <a:pt x="221" y="31"/>
                    <a:pt x="237" y="45"/>
                  </a:cubicBezTo>
                  <a:cubicBezTo>
                    <a:pt x="232" y="51"/>
                    <a:pt x="227" y="57"/>
                    <a:pt x="222" y="6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500">
                <a:solidFill>
                  <a:schemeClr val="tx2"/>
                </a:solidFill>
              </a:endParaRPr>
            </a:p>
          </p:txBody>
        </p:sp>
        <p:sp>
          <p:nvSpPr>
            <p:cNvPr id="118792" name="Freeform 33">
              <a:extLst>
                <a:ext uri="{FF2B5EF4-FFF2-40B4-BE49-F238E27FC236}">
                  <a16:creationId xmlns:a16="http://schemas.microsoft.com/office/drawing/2014/main" xmlns="" id="{7B8DD4C4-5BB8-4CDB-9D90-7375BACAE64C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3" y="2498"/>
              <a:ext cx="449" cy="39"/>
            </a:xfrm>
            <a:custGeom>
              <a:avLst/>
              <a:gdLst>
                <a:gd name="T0" fmla="*/ 253 w 253"/>
                <a:gd name="T1" fmla="*/ 0 h 22"/>
                <a:gd name="T2" fmla="*/ 253 w 253"/>
                <a:gd name="T3" fmla="*/ 22 h 22"/>
                <a:gd name="T4" fmla="*/ 0 w 253"/>
                <a:gd name="T5" fmla="*/ 22 h 22"/>
                <a:gd name="T6" fmla="*/ 0 w 253"/>
                <a:gd name="T7" fmla="*/ 0 h 22"/>
                <a:gd name="T8" fmla="*/ 253 w 253"/>
                <a:gd name="T9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3" h="22">
                  <a:moveTo>
                    <a:pt x="253" y="0"/>
                  </a:moveTo>
                  <a:cubicBezTo>
                    <a:pt x="253" y="7"/>
                    <a:pt x="253" y="14"/>
                    <a:pt x="253" y="22"/>
                  </a:cubicBezTo>
                  <a:cubicBezTo>
                    <a:pt x="169" y="22"/>
                    <a:pt x="85" y="22"/>
                    <a:pt x="0" y="22"/>
                  </a:cubicBezTo>
                  <a:cubicBezTo>
                    <a:pt x="0" y="15"/>
                    <a:pt x="0" y="8"/>
                    <a:pt x="0" y="0"/>
                  </a:cubicBezTo>
                  <a:cubicBezTo>
                    <a:pt x="84" y="0"/>
                    <a:pt x="168" y="0"/>
                    <a:pt x="25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500">
                <a:solidFill>
                  <a:schemeClr val="tx2"/>
                </a:solidFill>
              </a:endParaRPr>
            </a:p>
          </p:txBody>
        </p:sp>
        <p:sp>
          <p:nvSpPr>
            <p:cNvPr id="118793" name="Freeform 34">
              <a:extLst>
                <a:ext uri="{FF2B5EF4-FFF2-40B4-BE49-F238E27FC236}">
                  <a16:creationId xmlns:a16="http://schemas.microsoft.com/office/drawing/2014/main" xmlns="" id="{BB1DA955-D3D8-441C-BC92-CD9563E3718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90" y="1710"/>
              <a:ext cx="170" cy="173"/>
            </a:xfrm>
            <a:custGeom>
              <a:avLst/>
              <a:gdLst>
                <a:gd name="T0" fmla="*/ 96 w 96"/>
                <a:gd name="T1" fmla="*/ 49 h 98"/>
                <a:gd name="T2" fmla="*/ 49 w 96"/>
                <a:gd name="T3" fmla="*/ 97 h 98"/>
                <a:gd name="T4" fmla="*/ 0 w 96"/>
                <a:gd name="T5" fmla="*/ 49 h 98"/>
                <a:gd name="T6" fmla="*/ 48 w 96"/>
                <a:gd name="T7" fmla="*/ 0 h 98"/>
                <a:gd name="T8" fmla="*/ 96 w 96"/>
                <a:gd name="T9" fmla="*/ 49 h 98"/>
                <a:gd name="T10" fmla="*/ 72 w 96"/>
                <a:gd name="T11" fmla="*/ 49 h 98"/>
                <a:gd name="T12" fmla="*/ 48 w 96"/>
                <a:gd name="T13" fmla="*/ 24 h 98"/>
                <a:gd name="T14" fmla="*/ 24 w 96"/>
                <a:gd name="T15" fmla="*/ 48 h 98"/>
                <a:gd name="T16" fmla="*/ 48 w 96"/>
                <a:gd name="T17" fmla="*/ 73 h 98"/>
                <a:gd name="T18" fmla="*/ 72 w 96"/>
                <a:gd name="T19" fmla="*/ 49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8">
                  <a:moveTo>
                    <a:pt x="96" y="49"/>
                  </a:moveTo>
                  <a:cubicBezTo>
                    <a:pt x="96" y="75"/>
                    <a:pt x="75" y="97"/>
                    <a:pt x="49" y="97"/>
                  </a:cubicBezTo>
                  <a:cubicBezTo>
                    <a:pt x="22" y="98"/>
                    <a:pt x="0" y="76"/>
                    <a:pt x="0" y="49"/>
                  </a:cubicBezTo>
                  <a:cubicBezTo>
                    <a:pt x="0" y="22"/>
                    <a:pt x="21" y="0"/>
                    <a:pt x="48" y="0"/>
                  </a:cubicBezTo>
                  <a:cubicBezTo>
                    <a:pt x="75" y="0"/>
                    <a:pt x="96" y="21"/>
                    <a:pt x="96" y="49"/>
                  </a:cubicBezTo>
                  <a:close/>
                  <a:moveTo>
                    <a:pt x="72" y="49"/>
                  </a:moveTo>
                  <a:cubicBezTo>
                    <a:pt x="72" y="35"/>
                    <a:pt x="62" y="24"/>
                    <a:pt x="48" y="24"/>
                  </a:cubicBezTo>
                  <a:cubicBezTo>
                    <a:pt x="35" y="24"/>
                    <a:pt x="24" y="35"/>
                    <a:pt x="24" y="48"/>
                  </a:cubicBezTo>
                  <a:cubicBezTo>
                    <a:pt x="24" y="62"/>
                    <a:pt x="35" y="73"/>
                    <a:pt x="48" y="73"/>
                  </a:cubicBezTo>
                  <a:cubicBezTo>
                    <a:pt x="61" y="73"/>
                    <a:pt x="72" y="62"/>
                    <a:pt x="72" y="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500">
                <a:solidFill>
                  <a:schemeClr val="tx2"/>
                </a:solidFill>
              </a:endParaRPr>
            </a:p>
          </p:txBody>
        </p:sp>
        <p:sp>
          <p:nvSpPr>
            <p:cNvPr id="118794" name="Freeform 35">
              <a:extLst>
                <a:ext uri="{FF2B5EF4-FFF2-40B4-BE49-F238E27FC236}">
                  <a16:creationId xmlns:a16="http://schemas.microsoft.com/office/drawing/2014/main" xmlns="" id="{ED0EE749-5B05-4A36-A002-A7679E27DFD5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" y="2027"/>
              <a:ext cx="167" cy="163"/>
            </a:xfrm>
            <a:custGeom>
              <a:avLst/>
              <a:gdLst>
                <a:gd name="T0" fmla="*/ 72 w 94"/>
                <a:gd name="T1" fmla="*/ 91 h 92"/>
                <a:gd name="T2" fmla="*/ 47 w 94"/>
                <a:gd name="T3" fmla="*/ 62 h 92"/>
                <a:gd name="T4" fmla="*/ 21 w 94"/>
                <a:gd name="T5" fmla="*/ 92 h 92"/>
                <a:gd name="T6" fmla="*/ 2 w 94"/>
                <a:gd name="T7" fmla="*/ 74 h 92"/>
                <a:gd name="T8" fmla="*/ 32 w 94"/>
                <a:gd name="T9" fmla="*/ 46 h 92"/>
                <a:gd name="T10" fmla="*/ 0 w 94"/>
                <a:gd name="T11" fmla="*/ 22 h 92"/>
                <a:gd name="T12" fmla="*/ 22 w 94"/>
                <a:gd name="T13" fmla="*/ 3 h 92"/>
                <a:gd name="T14" fmla="*/ 45 w 94"/>
                <a:gd name="T15" fmla="*/ 30 h 92"/>
                <a:gd name="T16" fmla="*/ 73 w 94"/>
                <a:gd name="T17" fmla="*/ 0 h 92"/>
                <a:gd name="T18" fmla="*/ 89 w 94"/>
                <a:gd name="T19" fmla="*/ 20 h 92"/>
                <a:gd name="T20" fmla="*/ 62 w 94"/>
                <a:gd name="T21" fmla="*/ 43 h 92"/>
                <a:gd name="T22" fmla="*/ 94 w 94"/>
                <a:gd name="T23" fmla="*/ 72 h 92"/>
                <a:gd name="T24" fmla="*/ 72 w 94"/>
                <a:gd name="T25" fmla="*/ 91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4" h="92">
                  <a:moveTo>
                    <a:pt x="72" y="91"/>
                  </a:moveTo>
                  <a:cubicBezTo>
                    <a:pt x="64" y="82"/>
                    <a:pt x="56" y="72"/>
                    <a:pt x="47" y="62"/>
                  </a:cubicBezTo>
                  <a:cubicBezTo>
                    <a:pt x="38" y="73"/>
                    <a:pt x="30" y="82"/>
                    <a:pt x="21" y="92"/>
                  </a:cubicBezTo>
                  <a:cubicBezTo>
                    <a:pt x="13" y="85"/>
                    <a:pt x="8" y="80"/>
                    <a:pt x="2" y="74"/>
                  </a:cubicBezTo>
                  <a:cubicBezTo>
                    <a:pt x="12" y="65"/>
                    <a:pt x="21" y="57"/>
                    <a:pt x="32" y="46"/>
                  </a:cubicBezTo>
                  <a:cubicBezTo>
                    <a:pt x="20" y="37"/>
                    <a:pt x="10" y="29"/>
                    <a:pt x="0" y="22"/>
                  </a:cubicBezTo>
                  <a:cubicBezTo>
                    <a:pt x="9" y="14"/>
                    <a:pt x="15" y="9"/>
                    <a:pt x="22" y="3"/>
                  </a:cubicBezTo>
                  <a:cubicBezTo>
                    <a:pt x="28" y="10"/>
                    <a:pt x="36" y="20"/>
                    <a:pt x="45" y="30"/>
                  </a:cubicBezTo>
                  <a:cubicBezTo>
                    <a:pt x="55" y="19"/>
                    <a:pt x="64" y="10"/>
                    <a:pt x="73" y="0"/>
                  </a:cubicBezTo>
                  <a:cubicBezTo>
                    <a:pt x="79" y="7"/>
                    <a:pt x="83" y="13"/>
                    <a:pt x="89" y="20"/>
                  </a:cubicBezTo>
                  <a:cubicBezTo>
                    <a:pt x="82" y="26"/>
                    <a:pt x="72" y="34"/>
                    <a:pt x="62" y="43"/>
                  </a:cubicBezTo>
                  <a:cubicBezTo>
                    <a:pt x="74" y="54"/>
                    <a:pt x="84" y="62"/>
                    <a:pt x="94" y="72"/>
                  </a:cubicBezTo>
                  <a:cubicBezTo>
                    <a:pt x="86" y="79"/>
                    <a:pt x="80" y="84"/>
                    <a:pt x="72" y="9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500">
                <a:solidFill>
                  <a:schemeClr val="tx2"/>
                </a:solidFill>
              </a:endParaRPr>
            </a:p>
          </p:txBody>
        </p:sp>
        <p:sp>
          <p:nvSpPr>
            <p:cNvPr id="118795" name="Freeform 36">
              <a:extLst>
                <a:ext uri="{FF2B5EF4-FFF2-40B4-BE49-F238E27FC236}">
                  <a16:creationId xmlns:a16="http://schemas.microsoft.com/office/drawing/2014/main" xmlns="" id="{4334A7AB-CEFF-4DFA-9AE3-AB66D5723F9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0" y="2156"/>
              <a:ext cx="164" cy="163"/>
            </a:xfrm>
            <a:custGeom>
              <a:avLst/>
              <a:gdLst>
                <a:gd name="T0" fmla="*/ 74 w 92"/>
                <a:gd name="T1" fmla="*/ 92 h 92"/>
                <a:gd name="T2" fmla="*/ 47 w 92"/>
                <a:gd name="T3" fmla="*/ 59 h 92"/>
                <a:gd name="T4" fmla="*/ 22 w 92"/>
                <a:gd name="T5" fmla="*/ 92 h 92"/>
                <a:gd name="T6" fmla="*/ 2 w 92"/>
                <a:gd name="T7" fmla="*/ 72 h 92"/>
                <a:gd name="T8" fmla="*/ 32 w 92"/>
                <a:gd name="T9" fmla="*/ 47 h 92"/>
                <a:gd name="T10" fmla="*/ 0 w 92"/>
                <a:gd name="T11" fmla="*/ 19 h 92"/>
                <a:gd name="T12" fmla="*/ 21 w 92"/>
                <a:gd name="T13" fmla="*/ 1 h 92"/>
                <a:gd name="T14" fmla="*/ 46 w 92"/>
                <a:gd name="T15" fmla="*/ 29 h 92"/>
                <a:gd name="T16" fmla="*/ 72 w 92"/>
                <a:gd name="T17" fmla="*/ 0 h 92"/>
                <a:gd name="T18" fmla="*/ 90 w 92"/>
                <a:gd name="T19" fmla="*/ 20 h 92"/>
                <a:gd name="T20" fmla="*/ 62 w 92"/>
                <a:gd name="T21" fmla="*/ 45 h 92"/>
                <a:gd name="T22" fmla="*/ 92 w 92"/>
                <a:gd name="T23" fmla="*/ 71 h 92"/>
                <a:gd name="T24" fmla="*/ 74 w 92"/>
                <a:gd name="T25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2" h="92">
                  <a:moveTo>
                    <a:pt x="74" y="92"/>
                  </a:moveTo>
                  <a:cubicBezTo>
                    <a:pt x="65" y="81"/>
                    <a:pt x="58" y="71"/>
                    <a:pt x="47" y="59"/>
                  </a:cubicBezTo>
                  <a:cubicBezTo>
                    <a:pt x="37" y="71"/>
                    <a:pt x="30" y="81"/>
                    <a:pt x="22" y="92"/>
                  </a:cubicBezTo>
                  <a:cubicBezTo>
                    <a:pt x="14" y="84"/>
                    <a:pt x="9" y="79"/>
                    <a:pt x="2" y="72"/>
                  </a:cubicBezTo>
                  <a:cubicBezTo>
                    <a:pt x="12" y="64"/>
                    <a:pt x="21" y="56"/>
                    <a:pt x="32" y="47"/>
                  </a:cubicBezTo>
                  <a:cubicBezTo>
                    <a:pt x="20" y="37"/>
                    <a:pt x="11" y="29"/>
                    <a:pt x="0" y="19"/>
                  </a:cubicBezTo>
                  <a:cubicBezTo>
                    <a:pt x="8" y="12"/>
                    <a:pt x="14" y="7"/>
                    <a:pt x="21" y="1"/>
                  </a:cubicBezTo>
                  <a:cubicBezTo>
                    <a:pt x="29" y="10"/>
                    <a:pt x="37" y="19"/>
                    <a:pt x="46" y="29"/>
                  </a:cubicBezTo>
                  <a:cubicBezTo>
                    <a:pt x="56" y="19"/>
                    <a:pt x="64" y="10"/>
                    <a:pt x="72" y="0"/>
                  </a:cubicBezTo>
                  <a:cubicBezTo>
                    <a:pt x="79" y="7"/>
                    <a:pt x="84" y="13"/>
                    <a:pt x="90" y="20"/>
                  </a:cubicBezTo>
                  <a:cubicBezTo>
                    <a:pt x="83" y="27"/>
                    <a:pt x="73" y="36"/>
                    <a:pt x="62" y="45"/>
                  </a:cubicBezTo>
                  <a:cubicBezTo>
                    <a:pt x="74" y="55"/>
                    <a:pt x="83" y="64"/>
                    <a:pt x="92" y="71"/>
                  </a:cubicBezTo>
                  <a:cubicBezTo>
                    <a:pt x="85" y="79"/>
                    <a:pt x="81" y="84"/>
                    <a:pt x="74" y="9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500">
                <a:solidFill>
                  <a:schemeClr val="tx2"/>
                </a:solidFill>
              </a:endParaRPr>
            </a:p>
          </p:txBody>
        </p:sp>
        <p:sp>
          <p:nvSpPr>
            <p:cNvPr id="118796" name="Freeform 37">
              <a:extLst>
                <a:ext uri="{FF2B5EF4-FFF2-40B4-BE49-F238E27FC236}">
                  <a16:creationId xmlns:a16="http://schemas.microsoft.com/office/drawing/2014/main" xmlns="" id="{165F8185-1118-45B2-B285-C3AC68627F34}"/>
                </a:ext>
              </a:extLst>
            </p:cNvPr>
            <p:cNvSpPr>
              <a:spLocks/>
            </p:cNvSpPr>
            <p:nvPr/>
          </p:nvSpPr>
          <p:spPr bwMode="auto">
            <a:xfrm>
              <a:off x="2522" y="1680"/>
              <a:ext cx="168" cy="39"/>
            </a:xfrm>
            <a:custGeom>
              <a:avLst/>
              <a:gdLst>
                <a:gd name="T0" fmla="*/ 0 w 95"/>
                <a:gd name="T1" fmla="*/ 0 h 22"/>
                <a:gd name="T2" fmla="*/ 95 w 95"/>
                <a:gd name="T3" fmla="*/ 0 h 22"/>
                <a:gd name="T4" fmla="*/ 95 w 95"/>
                <a:gd name="T5" fmla="*/ 22 h 22"/>
                <a:gd name="T6" fmla="*/ 0 w 95"/>
                <a:gd name="T7" fmla="*/ 22 h 22"/>
                <a:gd name="T8" fmla="*/ 0 w 95"/>
                <a:gd name="T9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5" h="22">
                  <a:moveTo>
                    <a:pt x="0" y="0"/>
                  </a:moveTo>
                  <a:cubicBezTo>
                    <a:pt x="32" y="0"/>
                    <a:pt x="64" y="0"/>
                    <a:pt x="95" y="0"/>
                  </a:cubicBezTo>
                  <a:cubicBezTo>
                    <a:pt x="95" y="7"/>
                    <a:pt x="95" y="14"/>
                    <a:pt x="95" y="22"/>
                  </a:cubicBezTo>
                  <a:cubicBezTo>
                    <a:pt x="63" y="22"/>
                    <a:pt x="32" y="22"/>
                    <a:pt x="0" y="22"/>
                  </a:cubicBezTo>
                  <a:cubicBezTo>
                    <a:pt x="0" y="14"/>
                    <a:pt x="0" y="8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500">
                <a:solidFill>
                  <a:schemeClr val="tx2"/>
                </a:solidFill>
              </a:endParaRPr>
            </a:p>
          </p:txBody>
        </p:sp>
        <p:sp>
          <p:nvSpPr>
            <p:cNvPr id="118797" name="Freeform 38">
              <a:extLst>
                <a:ext uri="{FF2B5EF4-FFF2-40B4-BE49-F238E27FC236}">
                  <a16:creationId xmlns:a16="http://schemas.microsoft.com/office/drawing/2014/main" xmlns="" id="{73930CBD-F753-4E63-8421-3B831760644A}"/>
                </a:ext>
              </a:extLst>
            </p:cNvPr>
            <p:cNvSpPr>
              <a:spLocks/>
            </p:cNvSpPr>
            <p:nvPr/>
          </p:nvSpPr>
          <p:spPr bwMode="auto">
            <a:xfrm>
              <a:off x="2522" y="1766"/>
              <a:ext cx="105" cy="39"/>
            </a:xfrm>
            <a:custGeom>
              <a:avLst/>
              <a:gdLst>
                <a:gd name="T0" fmla="*/ 59 w 59"/>
                <a:gd name="T1" fmla="*/ 0 h 22"/>
                <a:gd name="T2" fmla="*/ 59 w 59"/>
                <a:gd name="T3" fmla="*/ 22 h 22"/>
                <a:gd name="T4" fmla="*/ 0 w 59"/>
                <a:gd name="T5" fmla="*/ 22 h 22"/>
                <a:gd name="T6" fmla="*/ 0 w 59"/>
                <a:gd name="T7" fmla="*/ 0 h 22"/>
                <a:gd name="T8" fmla="*/ 59 w 59"/>
                <a:gd name="T9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22">
                  <a:moveTo>
                    <a:pt x="59" y="0"/>
                  </a:moveTo>
                  <a:cubicBezTo>
                    <a:pt x="59" y="7"/>
                    <a:pt x="59" y="14"/>
                    <a:pt x="59" y="22"/>
                  </a:cubicBezTo>
                  <a:cubicBezTo>
                    <a:pt x="39" y="22"/>
                    <a:pt x="20" y="22"/>
                    <a:pt x="0" y="22"/>
                  </a:cubicBezTo>
                  <a:cubicBezTo>
                    <a:pt x="0" y="15"/>
                    <a:pt x="0" y="8"/>
                    <a:pt x="0" y="0"/>
                  </a:cubicBezTo>
                  <a:cubicBezTo>
                    <a:pt x="19" y="0"/>
                    <a:pt x="38" y="0"/>
                    <a:pt x="5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500">
                <a:solidFill>
                  <a:schemeClr val="tx2"/>
                </a:solidFill>
              </a:endParaRPr>
            </a:p>
          </p:txBody>
        </p:sp>
        <p:sp>
          <p:nvSpPr>
            <p:cNvPr id="118798" name="Freeform 39">
              <a:extLst>
                <a:ext uri="{FF2B5EF4-FFF2-40B4-BE49-F238E27FC236}">
                  <a16:creationId xmlns:a16="http://schemas.microsoft.com/office/drawing/2014/main" xmlns="" id="{94E0050D-A56C-49C1-9A74-439C34413B31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4" y="2411"/>
              <a:ext cx="105" cy="39"/>
            </a:xfrm>
            <a:custGeom>
              <a:avLst/>
              <a:gdLst>
                <a:gd name="T0" fmla="*/ 0 w 59"/>
                <a:gd name="T1" fmla="*/ 0 h 22"/>
                <a:gd name="T2" fmla="*/ 59 w 59"/>
                <a:gd name="T3" fmla="*/ 0 h 22"/>
                <a:gd name="T4" fmla="*/ 59 w 59"/>
                <a:gd name="T5" fmla="*/ 22 h 22"/>
                <a:gd name="T6" fmla="*/ 0 w 59"/>
                <a:gd name="T7" fmla="*/ 22 h 22"/>
                <a:gd name="T8" fmla="*/ 0 w 59"/>
                <a:gd name="T9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22">
                  <a:moveTo>
                    <a:pt x="0" y="0"/>
                  </a:moveTo>
                  <a:cubicBezTo>
                    <a:pt x="20" y="0"/>
                    <a:pt x="39" y="0"/>
                    <a:pt x="59" y="0"/>
                  </a:cubicBezTo>
                  <a:cubicBezTo>
                    <a:pt x="59" y="7"/>
                    <a:pt x="59" y="14"/>
                    <a:pt x="59" y="22"/>
                  </a:cubicBezTo>
                  <a:cubicBezTo>
                    <a:pt x="40" y="22"/>
                    <a:pt x="20" y="22"/>
                    <a:pt x="0" y="22"/>
                  </a:cubicBezTo>
                  <a:cubicBezTo>
                    <a:pt x="0" y="15"/>
                    <a:pt x="0" y="8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500">
                <a:solidFill>
                  <a:schemeClr val="tx2"/>
                </a:solidFill>
              </a:endParaRPr>
            </a:p>
          </p:txBody>
        </p:sp>
        <p:sp>
          <p:nvSpPr>
            <p:cNvPr id="118799" name="Freeform 40">
              <a:extLst>
                <a:ext uri="{FF2B5EF4-FFF2-40B4-BE49-F238E27FC236}">
                  <a16:creationId xmlns:a16="http://schemas.microsoft.com/office/drawing/2014/main" xmlns="" id="{E6A5B88E-32E5-4CBF-913E-3CD5A0D3E0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5" y="2411"/>
              <a:ext cx="104" cy="39"/>
            </a:xfrm>
            <a:custGeom>
              <a:avLst/>
              <a:gdLst>
                <a:gd name="T0" fmla="*/ 59 w 59"/>
                <a:gd name="T1" fmla="*/ 0 h 22"/>
                <a:gd name="T2" fmla="*/ 59 w 59"/>
                <a:gd name="T3" fmla="*/ 22 h 22"/>
                <a:gd name="T4" fmla="*/ 0 w 59"/>
                <a:gd name="T5" fmla="*/ 22 h 22"/>
                <a:gd name="T6" fmla="*/ 0 w 59"/>
                <a:gd name="T7" fmla="*/ 0 h 22"/>
                <a:gd name="T8" fmla="*/ 59 w 59"/>
                <a:gd name="T9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22">
                  <a:moveTo>
                    <a:pt x="59" y="0"/>
                  </a:moveTo>
                  <a:cubicBezTo>
                    <a:pt x="59" y="8"/>
                    <a:pt x="59" y="15"/>
                    <a:pt x="59" y="22"/>
                  </a:cubicBezTo>
                  <a:cubicBezTo>
                    <a:pt x="39" y="22"/>
                    <a:pt x="20" y="22"/>
                    <a:pt x="0" y="22"/>
                  </a:cubicBezTo>
                  <a:cubicBezTo>
                    <a:pt x="0" y="15"/>
                    <a:pt x="0" y="8"/>
                    <a:pt x="0" y="0"/>
                  </a:cubicBezTo>
                  <a:cubicBezTo>
                    <a:pt x="19" y="0"/>
                    <a:pt x="38" y="0"/>
                    <a:pt x="5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500">
                <a:solidFill>
                  <a:schemeClr val="tx2"/>
                </a:solidFill>
              </a:endParaRPr>
            </a:p>
          </p:txBody>
        </p:sp>
        <p:sp>
          <p:nvSpPr>
            <p:cNvPr id="118800" name="Freeform 41">
              <a:extLst>
                <a:ext uri="{FF2B5EF4-FFF2-40B4-BE49-F238E27FC236}">
                  <a16:creationId xmlns:a16="http://schemas.microsoft.com/office/drawing/2014/main" xmlns="" id="{97751540-DE72-4988-B2FA-5A77E7C362F2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3" y="2411"/>
              <a:ext cx="105" cy="39"/>
            </a:xfrm>
            <a:custGeom>
              <a:avLst/>
              <a:gdLst>
                <a:gd name="T0" fmla="*/ 59 w 59"/>
                <a:gd name="T1" fmla="*/ 0 h 22"/>
                <a:gd name="T2" fmla="*/ 59 w 59"/>
                <a:gd name="T3" fmla="*/ 22 h 22"/>
                <a:gd name="T4" fmla="*/ 0 w 59"/>
                <a:gd name="T5" fmla="*/ 22 h 22"/>
                <a:gd name="T6" fmla="*/ 0 w 59"/>
                <a:gd name="T7" fmla="*/ 0 h 22"/>
                <a:gd name="T8" fmla="*/ 59 w 59"/>
                <a:gd name="T9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22">
                  <a:moveTo>
                    <a:pt x="59" y="0"/>
                  </a:moveTo>
                  <a:cubicBezTo>
                    <a:pt x="59" y="7"/>
                    <a:pt x="59" y="14"/>
                    <a:pt x="59" y="22"/>
                  </a:cubicBezTo>
                  <a:cubicBezTo>
                    <a:pt x="40" y="22"/>
                    <a:pt x="20" y="22"/>
                    <a:pt x="0" y="22"/>
                  </a:cubicBezTo>
                  <a:cubicBezTo>
                    <a:pt x="0" y="15"/>
                    <a:pt x="0" y="8"/>
                    <a:pt x="0" y="0"/>
                  </a:cubicBezTo>
                  <a:cubicBezTo>
                    <a:pt x="20" y="0"/>
                    <a:pt x="39" y="0"/>
                    <a:pt x="5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500">
                <a:solidFill>
                  <a:schemeClr val="tx2"/>
                </a:solidFill>
              </a:endParaRPr>
            </a:p>
          </p:txBody>
        </p:sp>
        <p:sp>
          <p:nvSpPr>
            <p:cNvPr id="118802" name="Freeform 42">
              <a:extLst>
                <a:ext uri="{FF2B5EF4-FFF2-40B4-BE49-F238E27FC236}">
                  <a16:creationId xmlns:a16="http://schemas.microsoft.com/office/drawing/2014/main" xmlns="" id="{C3257C41-0CB2-44BD-BAFB-F6E56573EC2F}"/>
                </a:ext>
              </a:extLst>
            </p:cNvPr>
            <p:cNvSpPr>
              <a:spLocks/>
            </p:cNvSpPr>
            <p:nvPr/>
          </p:nvSpPr>
          <p:spPr bwMode="auto">
            <a:xfrm>
              <a:off x="2996" y="2411"/>
              <a:ext cx="104" cy="39"/>
            </a:xfrm>
            <a:custGeom>
              <a:avLst/>
              <a:gdLst>
                <a:gd name="T0" fmla="*/ 0 w 59"/>
                <a:gd name="T1" fmla="*/ 0 h 22"/>
                <a:gd name="T2" fmla="*/ 59 w 59"/>
                <a:gd name="T3" fmla="*/ 0 h 22"/>
                <a:gd name="T4" fmla="*/ 59 w 59"/>
                <a:gd name="T5" fmla="*/ 22 h 22"/>
                <a:gd name="T6" fmla="*/ 0 w 59"/>
                <a:gd name="T7" fmla="*/ 22 h 22"/>
                <a:gd name="T8" fmla="*/ 0 w 59"/>
                <a:gd name="T9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22">
                  <a:moveTo>
                    <a:pt x="0" y="0"/>
                  </a:moveTo>
                  <a:cubicBezTo>
                    <a:pt x="20" y="0"/>
                    <a:pt x="39" y="0"/>
                    <a:pt x="59" y="0"/>
                  </a:cubicBezTo>
                  <a:cubicBezTo>
                    <a:pt x="59" y="8"/>
                    <a:pt x="59" y="14"/>
                    <a:pt x="59" y="22"/>
                  </a:cubicBezTo>
                  <a:cubicBezTo>
                    <a:pt x="39" y="22"/>
                    <a:pt x="20" y="22"/>
                    <a:pt x="0" y="22"/>
                  </a:cubicBezTo>
                  <a:cubicBezTo>
                    <a:pt x="0" y="15"/>
                    <a:pt x="0" y="8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500">
                <a:solidFill>
                  <a:schemeClr val="tx2"/>
                </a:solidFill>
              </a:endParaRPr>
            </a:p>
          </p:txBody>
        </p:sp>
      </p:grpSp>
      <p:sp>
        <p:nvSpPr>
          <p:cNvPr id="129" name="TextBox 128">
            <a:extLst>
              <a:ext uri="{FF2B5EF4-FFF2-40B4-BE49-F238E27FC236}">
                <a16:creationId xmlns:a16="http://schemas.microsoft.com/office/drawing/2014/main" xmlns="" id="{0D80395B-6FF5-4042-8356-2CCD725E3CF5}"/>
              </a:ext>
            </a:extLst>
          </p:cNvPr>
          <p:cNvSpPr txBox="1">
            <a:spLocks/>
          </p:cNvSpPr>
          <p:nvPr/>
        </p:nvSpPr>
        <p:spPr>
          <a:xfrm>
            <a:off x="315458" y="2507847"/>
            <a:ext cx="344707" cy="45320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GB" sz="2800" dirty="0">
                <a:solidFill>
                  <a:schemeClr val="tx2"/>
                </a:solidFill>
                <a:latin typeface="Georgia" panose="02040502050405020303" pitchFamily="18" charset="0"/>
              </a:rPr>
              <a:t>2</a:t>
            </a:r>
          </a:p>
        </p:txBody>
      </p:sp>
      <p:sp>
        <p:nvSpPr>
          <p:cNvPr id="98" name="!ObjectA-00866">
            <a:extLst>
              <a:ext uri="{FF2B5EF4-FFF2-40B4-BE49-F238E27FC236}">
                <a16:creationId xmlns:a16="http://schemas.microsoft.com/office/drawing/2014/main" xmlns="" id="{C65749A0-3B64-4E97-AA51-05795E089EA4}"/>
              </a:ext>
            </a:extLst>
          </p:cNvPr>
          <p:cNvSpPr txBox="1">
            <a:spLocks/>
          </p:cNvSpPr>
          <p:nvPr/>
        </p:nvSpPr>
        <p:spPr>
          <a:xfrm>
            <a:off x="1412174" y="3385709"/>
            <a:ext cx="3045995" cy="115416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500" dirty="0"/>
              <a:t>Regular interaction through calls/ meetings with marketing/ sales managers on output metrics; annual review with HR</a:t>
            </a:r>
            <a:endParaRPr lang="en-GB" sz="1500" dirty="0"/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xmlns="" id="{8EA5491E-4FA1-4439-930C-EBE8E0FE2DAA}"/>
              </a:ext>
            </a:extLst>
          </p:cNvPr>
          <p:cNvSpPr txBox="1">
            <a:spLocks/>
          </p:cNvSpPr>
          <p:nvPr/>
        </p:nvSpPr>
        <p:spPr>
          <a:xfrm>
            <a:off x="7892421" y="3616543"/>
            <a:ext cx="3736689" cy="4616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GB" sz="1500" dirty="0"/>
              <a:t>Realtime self-performance management with full  transparency on input metrics</a:t>
            </a:r>
          </a:p>
        </p:txBody>
      </p:sp>
      <p:grpSp>
        <p:nvGrpSpPr>
          <p:cNvPr id="100" name="Group 57">
            <a:extLst>
              <a:ext uri="{FF2B5EF4-FFF2-40B4-BE49-F238E27FC236}">
                <a16:creationId xmlns:a16="http://schemas.microsoft.com/office/drawing/2014/main" xmlns="" id="{84A37B8F-073C-4873-A002-8405B769CD9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01976" y="3778867"/>
            <a:ext cx="369599" cy="367849"/>
            <a:chOff x="2455" y="1749"/>
            <a:chExt cx="740" cy="745"/>
          </a:xfrm>
          <a:solidFill>
            <a:schemeClr val="tx2"/>
          </a:solidFill>
        </p:grpSpPr>
        <p:sp>
          <p:nvSpPr>
            <p:cNvPr id="108" name="Freeform 58">
              <a:extLst>
                <a:ext uri="{FF2B5EF4-FFF2-40B4-BE49-F238E27FC236}">
                  <a16:creationId xmlns:a16="http://schemas.microsoft.com/office/drawing/2014/main" xmlns="" id="{481F7205-6201-471B-807C-4493254790D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55" y="1749"/>
              <a:ext cx="740" cy="745"/>
            </a:xfrm>
            <a:custGeom>
              <a:avLst/>
              <a:gdLst>
                <a:gd name="T0" fmla="*/ 0 w 417"/>
                <a:gd name="T1" fmla="*/ 118 h 420"/>
                <a:gd name="T2" fmla="*/ 19 w 417"/>
                <a:gd name="T3" fmla="*/ 42 h 420"/>
                <a:gd name="T4" fmla="*/ 87 w 417"/>
                <a:gd name="T5" fmla="*/ 1 h 420"/>
                <a:gd name="T6" fmla="*/ 122 w 417"/>
                <a:gd name="T7" fmla="*/ 23 h 420"/>
                <a:gd name="T8" fmla="*/ 147 w 417"/>
                <a:gd name="T9" fmla="*/ 105 h 420"/>
                <a:gd name="T10" fmla="*/ 136 w 417"/>
                <a:gd name="T11" fmla="*/ 144 h 420"/>
                <a:gd name="T12" fmla="*/ 117 w 417"/>
                <a:gd name="T13" fmla="*/ 164 h 420"/>
                <a:gd name="T14" fmla="*/ 114 w 417"/>
                <a:gd name="T15" fmla="*/ 193 h 420"/>
                <a:gd name="T16" fmla="*/ 224 w 417"/>
                <a:gd name="T17" fmla="*/ 302 h 420"/>
                <a:gd name="T18" fmla="*/ 256 w 417"/>
                <a:gd name="T19" fmla="*/ 298 h 420"/>
                <a:gd name="T20" fmla="*/ 277 w 417"/>
                <a:gd name="T21" fmla="*/ 278 h 420"/>
                <a:gd name="T22" fmla="*/ 318 w 417"/>
                <a:gd name="T23" fmla="*/ 270 h 420"/>
                <a:gd name="T24" fmla="*/ 395 w 417"/>
                <a:gd name="T25" fmla="*/ 305 h 420"/>
                <a:gd name="T26" fmla="*/ 410 w 417"/>
                <a:gd name="T27" fmla="*/ 344 h 420"/>
                <a:gd name="T28" fmla="*/ 307 w 417"/>
                <a:gd name="T29" fmla="*/ 416 h 420"/>
                <a:gd name="T30" fmla="*/ 184 w 417"/>
                <a:gd name="T31" fmla="*/ 375 h 420"/>
                <a:gd name="T32" fmla="*/ 53 w 417"/>
                <a:gd name="T33" fmla="*/ 250 h 420"/>
                <a:gd name="T34" fmla="*/ 0 w 417"/>
                <a:gd name="T35" fmla="*/ 118 h 420"/>
                <a:gd name="T36" fmla="*/ 14 w 417"/>
                <a:gd name="T37" fmla="*/ 119 h 420"/>
                <a:gd name="T38" fmla="*/ 64 w 417"/>
                <a:gd name="T39" fmla="*/ 242 h 420"/>
                <a:gd name="T40" fmla="*/ 195 w 417"/>
                <a:gd name="T41" fmla="*/ 365 h 420"/>
                <a:gd name="T42" fmla="*/ 305 w 417"/>
                <a:gd name="T43" fmla="*/ 403 h 420"/>
                <a:gd name="T44" fmla="*/ 397 w 417"/>
                <a:gd name="T45" fmla="*/ 341 h 420"/>
                <a:gd name="T46" fmla="*/ 389 w 417"/>
                <a:gd name="T47" fmla="*/ 317 h 420"/>
                <a:gd name="T48" fmla="*/ 313 w 417"/>
                <a:gd name="T49" fmla="*/ 283 h 420"/>
                <a:gd name="T50" fmla="*/ 285 w 417"/>
                <a:gd name="T51" fmla="*/ 289 h 420"/>
                <a:gd name="T52" fmla="*/ 263 w 417"/>
                <a:gd name="T53" fmla="*/ 310 h 420"/>
                <a:gd name="T54" fmla="*/ 218 w 417"/>
                <a:gd name="T55" fmla="*/ 315 h 420"/>
                <a:gd name="T56" fmla="*/ 101 w 417"/>
                <a:gd name="T57" fmla="*/ 199 h 420"/>
                <a:gd name="T58" fmla="*/ 106 w 417"/>
                <a:gd name="T59" fmla="*/ 155 h 420"/>
                <a:gd name="T60" fmla="*/ 126 w 417"/>
                <a:gd name="T61" fmla="*/ 133 h 420"/>
                <a:gd name="T62" fmla="*/ 134 w 417"/>
                <a:gd name="T63" fmla="*/ 108 h 420"/>
                <a:gd name="T64" fmla="*/ 109 w 417"/>
                <a:gd name="T65" fmla="*/ 29 h 420"/>
                <a:gd name="T66" fmla="*/ 84 w 417"/>
                <a:gd name="T67" fmla="*/ 14 h 420"/>
                <a:gd name="T68" fmla="*/ 34 w 417"/>
                <a:gd name="T69" fmla="*/ 45 h 420"/>
                <a:gd name="T70" fmla="*/ 14 w 417"/>
                <a:gd name="T71" fmla="*/ 119 h 4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17" h="420">
                  <a:moveTo>
                    <a:pt x="0" y="118"/>
                  </a:moveTo>
                  <a:cubicBezTo>
                    <a:pt x="0" y="91"/>
                    <a:pt x="5" y="65"/>
                    <a:pt x="19" y="42"/>
                  </a:cubicBezTo>
                  <a:cubicBezTo>
                    <a:pt x="35" y="17"/>
                    <a:pt x="57" y="2"/>
                    <a:pt x="87" y="1"/>
                  </a:cubicBezTo>
                  <a:cubicBezTo>
                    <a:pt x="104" y="0"/>
                    <a:pt x="117" y="8"/>
                    <a:pt x="122" y="23"/>
                  </a:cubicBezTo>
                  <a:cubicBezTo>
                    <a:pt x="131" y="50"/>
                    <a:pt x="140" y="78"/>
                    <a:pt x="147" y="105"/>
                  </a:cubicBezTo>
                  <a:cubicBezTo>
                    <a:pt x="152" y="120"/>
                    <a:pt x="147" y="133"/>
                    <a:pt x="136" y="144"/>
                  </a:cubicBezTo>
                  <a:cubicBezTo>
                    <a:pt x="130" y="151"/>
                    <a:pt x="123" y="157"/>
                    <a:pt x="117" y="164"/>
                  </a:cubicBezTo>
                  <a:cubicBezTo>
                    <a:pt x="108" y="173"/>
                    <a:pt x="106" y="182"/>
                    <a:pt x="114" y="193"/>
                  </a:cubicBezTo>
                  <a:cubicBezTo>
                    <a:pt x="143" y="237"/>
                    <a:pt x="178" y="275"/>
                    <a:pt x="224" y="302"/>
                  </a:cubicBezTo>
                  <a:cubicBezTo>
                    <a:pt x="236" y="309"/>
                    <a:pt x="246" y="307"/>
                    <a:pt x="256" y="298"/>
                  </a:cubicBezTo>
                  <a:cubicBezTo>
                    <a:pt x="263" y="291"/>
                    <a:pt x="270" y="285"/>
                    <a:pt x="277" y="278"/>
                  </a:cubicBezTo>
                  <a:cubicBezTo>
                    <a:pt x="289" y="266"/>
                    <a:pt x="303" y="264"/>
                    <a:pt x="318" y="270"/>
                  </a:cubicBezTo>
                  <a:cubicBezTo>
                    <a:pt x="344" y="281"/>
                    <a:pt x="370" y="293"/>
                    <a:pt x="395" y="305"/>
                  </a:cubicBezTo>
                  <a:cubicBezTo>
                    <a:pt x="412" y="313"/>
                    <a:pt x="417" y="327"/>
                    <a:pt x="410" y="344"/>
                  </a:cubicBezTo>
                  <a:cubicBezTo>
                    <a:pt x="391" y="390"/>
                    <a:pt x="355" y="412"/>
                    <a:pt x="307" y="416"/>
                  </a:cubicBezTo>
                  <a:cubicBezTo>
                    <a:pt x="260" y="420"/>
                    <a:pt x="219" y="406"/>
                    <a:pt x="184" y="375"/>
                  </a:cubicBezTo>
                  <a:cubicBezTo>
                    <a:pt x="140" y="334"/>
                    <a:pt x="95" y="293"/>
                    <a:pt x="53" y="250"/>
                  </a:cubicBezTo>
                  <a:cubicBezTo>
                    <a:pt x="17" y="214"/>
                    <a:pt x="1" y="169"/>
                    <a:pt x="0" y="118"/>
                  </a:cubicBezTo>
                  <a:close/>
                  <a:moveTo>
                    <a:pt x="14" y="119"/>
                  </a:moveTo>
                  <a:cubicBezTo>
                    <a:pt x="15" y="165"/>
                    <a:pt x="30" y="208"/>
                    <a:pt x="64" y="242"/>
                  </a:cubicBezTo>
                  <a:cubicBezTo>
                    <a:pt x="107" y="285"/>
                    <a:pt x="151" y="325"/>
                    <a:pt x="195" y="365"/>
                  </a:cubicBezTo>
                  <a:cubicBezTo>
                    <a:pt x="226" y="393"/>
                    <a:pt x="263" y="406"/>
                    <a:pt x="305" y="403"/>
                  </a:cubicBezTo>
                  <a:cubicBezTo>
                    <a:pt x="346" y="399"/>
                    <a:pt x="379" y="381"/>
                    <a:pt x="397" y="341"/>
                  </a:cubicBezTo>
                  <a:cubicBezTo>
                    <a:pt x="402" y="330"/>
                    <a:pt x="399" y="322"/>
                    <a:pt x="389" y="317"/>
                  </a:cubicBezTo>
                  <a:cubicBezTo>
                    <a:pt x="364" y="305"/>
                    <a:pt x="338" y="294"/>
                    <a:pt x="313" y="283"/>
                  </a:cubicBezTo>
                  <a:cubicBezTo>
                    <a:pt x="303" y="279"/>
                    <a:pt x="293" y="281"/>
                    <a:pt x="285" y="289"/>
                  </a:cubicBezTo>
                  <a:cubicBezTo>
                    <a:pt x="278" y="296"/>
                    <a:pt x="271" y="303"/>
                    <a:pt x="263" y="310"/>
                  </a:cubicBezTo>
                  <a:cubicBezTo>
                    <a:pt x="249" y="322"/>
                    <a:pt x="235" y="324"/>
                    <a:pt x="218" y="315"/>
                  </a:cubicBezTo>
                  <a:cubicBezTo>
                    <a:pt x="169" y="287"/>
                    <a:pt x="131" y="247"/>
                    <a:pt x="101" y="199"/>
                  </a:cubicBezTo>
                  <a:cubicBezTo>
                    <a:pt x="92" y="184"/>
                    <a:pt x="94" y="169"/>
                    <a:pt x="106" y="155"/>
                  </a:cubicBezTo>
                  <a:cubicBezTo>
                    <a:pt x="112" y="148"/>
                    <a:pt x="121" y="142"/>
                    <a:pt x="126" y="133"/>
                  </a:cubicBezTo>
                  <a:cubicBezTo>
                    <a:pt x="131" y="126"/>
                    <a:pt x="135" y="116"/>
                    <a:pt x="134" y="108"/>
                  </a:cubicBezTo>
                  <a:cubicBezTo>
                    <a:pt x="127" y="82"/>
                    <a:pt x="118" y="55"/>
                    <a:pt x="109" y="29"/>
                  </a:cubicBezTo>
                  <a:cubicBezTo>
                    <a:pt x="105" y="18"/>
                    <a:pt x="97" y="12"/>
                    <a:pt x="84" y="14"/>
                  </a:cubicBezTo>
                  <a:cubicBezTo>
                    <a:pt x="63" y="17"/>
                    <a:pt x="46" y="27"/>
                    <a:pt x="34" y="45"/>
                  </a:cubicBezTo>
                  <a:cubicBezTo>
                    <a:pt x="19" y="66"/>
                    <a:pt x="14" y="91"/>
                    <a:pt x="14" y="1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500">
                <a:solidFill>
                  <a:schemeClr val="tx2"/>
                </a:solidFill>
              </a:endParaRPr>
            </a:p>
          </p:txBody>
        </p:sp>
        <p:sp>
          <p:nvSpPr>
            <p:cNvPr id="109" name="Freeform 59">
              <a:extLst>
                <a:ext uri="{FF2B5EF4-FFF2-40B4-BE49-F238E27FC236}">
                  <a16:creationId xmlns:a16="http://schemas.microsoft.com/office/drawing/2014/main" xmlns="" id="{BFBA1238-1978-4A12-B368-BFDF3A5C46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46" y="1995"/>
              <a:ext cx="309" cy="213"/>
            </a:xfrm>
            <a:custGeom>
              <a:avLst/>
              <a:gdLst>
                <a:gd name="T0" fmla="*/ 90 w 174"/>
                <a:gd name="T1" fmla="*/ 92 h 120"/>
                <a:gd name="T2" fmla="*/ 25 w 174"/>
                <a:gd name="T3" fmla="*/ 92 h 120"/>
                <a:gd name="T4" fmla="*/ 0 w 174"/>
                <a:gd name="T5" fmla="*/ 67 h 120"/>
                <a:gd name="T6" fmla="*/ 0 w 174"/>
                <a:gd name="T7" fmla="*/ 47 h 120"/>
                <a:gd name="T8" fmla="*/ 20 w 174"/>
                <a:gd name="T9" fmla="*/ 26 h 120"/>
                <a:gd name="T10" fmla="*/ 75 w 174"/>
                <a:gd name="T11" fmla="*/ 26 h 120"/>
                <a:gd name="T12" fmla="*/ 90 w 174"/>
                <a:gd name="T13" fmla="*/ 26 h 120"/>
                <a:gd name="T14" fmla="*/ 91 w 174"/>
                <a:gd name="T15" fmla="*/ 14 h 120"/>
                <a:gd name="T16" fmla="*/ 109 w 174"/>
                <a:gd name="T17" fmla="*/ 6 h 120"/>
                <a:gd name="T18" fmla="*/ 166 w 174"/>
                <a:gd name="T19" fmla="*/ 49 h 120"/>
                <a:gd name="T20" fmla="*/ 166 w 174"/>
                <a:gd name="T21" fmla="*/ 70 h 120"/>
                <a:gd name="T22" fmla="*/ 109 w 174"/>
                <a:gd name="T23" fmla="*/ 113 h 120"/>
                <a:gd name="T24" fmla="*/ 91 w 174"/>
                <a:gd name="T25" fmla="*/ 104 h 120"/>
                <a:gd name="T26" fmla="*/ 90 w 174"/>
                <a:gd name="T27" fmla="*/ 92 h 120"/>
                <a:gd name="T28" fmla="*/ 15 w 174"/>
                <a:gd name="T29" fmla="*/ 40 h 120"/>
                <a:gd name="T30" fmla="*/ 15 w 174"/>
                <a:gd name="T31" fmla="*/ 78 h 120"/>
                <a:gd name="T32" fmla="*/ 81 w 174"/>
                <a:gd name="T33" fmla="*/ 78 h 120"/>
                <a:gd name="T34" fmla="*/ 106 w 174"/>
                <a:gd name="T35" fmla="*/ 99 h 120"/>
                <a:gd name="T36" fmla="*/ 150 w 174"/>
                <a:gd name="T37" fmla="*/ 65 h 120"/>
                <a:gd name="T38" fmla="*/ 150 w 174"/>
                <a:gd name="T39" fmla="*/ 55 h 120"/>
                <a:gd name="T40" fmla="*/ 105 w 174"/>
                <a:gd name="T41" fmla="*/ 20 h 120"/>
                <a:gd name="T42" fmla="*/ 80 w 174"/>
                <a:gd name="T43" fmla="*/ 40 h 120"/>
                <a:gd name="T44" fmla="*/ 15 w 174"/>
                <a:gd name="T45" fmla="*/ 4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74" h="120">
                  <a:moveTo>
                    <a:pt x="90" y="92"/>
                  </a:moveTo>
                  <a:cubicBezTo>
                    <a:pt x="68" y="92"/>
                    <a:pt x="47" y="92"/>
                    <a:pt x="25" y="92"/>
                  </a:cubicBezTo>
                  <a:cubicBezTo>
                    <a:pt x="4" y="92"/>
                    <a:pt x="0" y="88"/>
                    <a:pt x="0" y="67"/>
                  </a:cubicBezTo>
                  <a:cubicBezTo>
                    <a:pt x="0" y="60"/>
                    <a:pt x="0" y="53"/>
                    <a:pt x="0" y="47"/>
                  </a:cubicBezTo>
                  <a:cubicBezTo>
                    <a:pt x="0" y="32"/>
                    <a:pt x="6" y="27"/>
                    <a:pt x="20" y="26"/>
                  </a:cubicBezTo>
                  <a:cubicBezTo>
                    <a:pt x="38" y="26"/>
                    <a:pt x="57" y="26"/>
                    <a:pt x="75" y="26"/>
                  </a:cubicBezTo>
                  <a:cubicBezTo>
                    <a:pt x="80" y="26"/>
                    <a:pt x="85" y="26"/>
                    <a:pt x="90" y="26"/>
                  </a:cubicBezTo>
                  <a:cubicBezTo>
                    <a:pt x="90" y="21"/>
                    <a:pt x="90" y="18"/>
                    <a:pt x="91" y="14"/>
                  </a:cubicBezTo>
                  <a:cubicBezTo>
                    <a:pt x="93" y="4"/>
                    <a:pt x="101" y="0"/>
                    <a:pt x="109" y="6"/>
                  </a:cubicBezTo>
                  <a:cubicBezTo>
                    <a:pt x="129" y="20"/>
                    <a:pt x="148" y="34"/>
                    <a:pt x="166" y="49"/>
                  </a:cubicBezTo>
                  <a:cubicBezTo>
                    <a:pt x="174" y="56"/>
                    <a:pt x="174" y="64"/>
                    <a:pt x="166" y="70"/>
                  </a:cubicBezTo>
                  <a:cubicBezTo>
                    <a:pt x="147" y="85"/>
                    <a:pt x="129" y="100"/>
                    <a:pt x="109" y="113"/>
                  </a:cubicBezTo>
                  <a:cubicBezTo>
                    <a:pt x="100" y="120"/>
                    <a:pt x="92" y="116"/>
                    <a:pt x="91" y="104"/>
                  </a:cubicBezTo>
                  <a:cubicBezTo>
                    <a:pt x="90" y="101"/>
                    <a:pt x="90" y="97"/>
                    <a:pt x="90" y="92"/>
                  </a:cubicBezTo>
                  <a:close/>
                  <a:moveTo>
                    <a:pt x="15" y="40"/>
                  </a:moveTo>
                  <a:cubicBezTo>
                    <a:pt x="15" y="54"/>
                    <a:pt x="15" y="66"/>
                    <a:pt x="15" y="78"/>
                  </a:cubicBezTo>
                  <a:cubicBezTo>
                    <a:pt x="38" y="78"/>
                    <a:pt x="59" y="79"/>
                    <a:pt x="81" y="78"/>
                  </a:cubicBezTo>
                  <a:cubicBezTo>
                    <a:pt x="94" y="78"/>
                    <a:pt x="104" y="81"/>
                    <a:pt x="106" y="99"/>
                  </a:cubicBezTo>
                  <a:cubicBezTo>
                    <a:pt x="121" y="87"/>
                    <a:pt x="136" y="76"/>
                    <a:pt x="150" y="65"/>
                  </a:cubicBezTo>
                  <a:cubicBezTo>
                    <a:pt x="152" y="64"/>
                    <a:pt x="152" y="56"/>
                    <a:pt x="150" y="55"/>
                  </a:cubicBezTo>
                  <a:cubicBezTo>
                    <a:pt x="136" y="43"/>
                    <a:pt x="122" y="33"/>
                    <a:pt x="105" y="20"/>
                  </a:cubicBezTo>
                  <a:cubicBezTo>
                    <a:pt x="104" y="39"/>
                    <a:pt x="92" y="40"/>
                    <a:pt x="80" y="40"/>
                  </a:cubicBezTo>
                  <a:cubicBezTo>
                    <a:pt x="58" y="40"/>
                    <a:pt x="37" y="40"/>
                    <a:pt x="15" y="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500">
                <a:solidFill>
                  <a:schemeClr val="tx2"/>
                </a:solidFill>
              </a:endParaRPr>
            </a:p>
          </p:txBody>
        </p:sp>
      </p:grpSp>
      <p:grpSp>
        <p:nvGrpSpPr>
          <p:cNvPr id="101" name="Group 120">
            <a:extLst>
              <a:ext uri="{FF2B5EF4-FFF2-40B4-BE49-F238E27FC236}">
                <a16:creationId xmlns:a16="http://schemas.microsoft.com/office/drawing/2014/main" xmlns="" id="{BDF43C6F-E526-4754-9992-4DEB376F4AE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173703" y="3581787"/>
            <a:ext cx="512971" cy="398601"/>
            <a:chOff x="2428" y="1708"/>
            <a:chExt cx="789" cy="814"/>
          </a:xfrm>
          <a:solidFill>
            <a:schemeClr val="accent4"/>
          </a:solidFill>
        </p:grpSpPr>
        <p:sp>
          <p:nvSpPr>
            <p:cNvPr id="102" name="Freeform 121">
              <a:extLst>
                <a:ext uri="{FF2B5EF4-FFF2-40B4-BE49-F238E27FC236}">
                  <a16:creationId xmlns:a16="http://schemas.microsoft.com/office/drawing/2014/main" xmlns="" id="{82C48D10-B295-41A4-BBC3-79C561C9904B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8" y="1965"/>
              <a:ext cx="161" cy="476"/>
            </a:xfrm>
            <a:custGeom>
              <a:avLst/>
              <a:gdLst>
                <a:gd name="T0" fmla="*/ 18 w 91"/>
                <a:gd name="T1" fmla="*/ 268 h 268"/>
                <a:gd name="T2" fmla="*/ 0 w 91"/>
                <a:gd name="T3" fmla="*/ 268 h 268"/>
                <a:gd name="T4" fmla="*/ 0 w 91"/>
                <a:gd name="T5" fmla="*/ 0 h 268"/>
                <a:gd name="T6" fmla="*/ 91 w 91"/>
                <a:gd name="T7" fmla="*/ 0 h 268"/>
                <a:gd name="T8" fmla="*/ 91 w 91"/>
                <a:gd name="T9" fmla="*/ 268 h 268"/>
                <a:gd name="T10" fmla="*/ 74 w 91"/>
                <a:gd name="T11" fmla="*/ 268 h 268"/>
                <a:gd name="T12" fmla="*/ 74 w 91"/>
                <a:gd name="T13" fmla="*/ 18 h 268"/>
                <a:gd name="T14" fmla="*/ 18 w 91"/>
                <a:gd name="T15" fmla="*/ 18 h 268"/>
                <a:gd name="T16" fmla="*/ 18 w 91"/>
                <a:gd name="T17" fmla="*/ 268 h 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1" h="268">
                  <a:moveTo>
                    <a:pt x="18" y="268"/>
                  </a:moveTo>
                  <a:cubicBezTo>
                    <a:pt x="11" y="268"/>
                    <a:pt x="6" y="268"/>
                    <a:pt x="0" y="268"/>
                  </a:cubicBezTo>
                  <a:cubicBezTo>
                    <a:pt x="0" y="179"/>
                    <a:pt x="0" y="90"/>
                    <a:pt x="0" y="0"/>
                  </a:cubicBezTo>
                  <a:cubicBezTo>
                    <a:pt x="30" y="0"/>
                    <a:pt x="60" y="0"/>
                    <a:pt x="91" y="0"/>
                  </a:cubicBezTo>
                  <a:cubicBezTo>
                    <a:pt x="91" y="89"/>
                    <a:pt x="91" y="178"/>
                    <a:pt x="91" y="268"/>
                  </a:cubicBezTo>
                  <a:cubicBezTo>
                    <a:pt x="86" y="268"/>
                    <a:pt x="81" y="268"/>
                    <a:pt x="74" y="268"/>
                  </a:cubicBezTo>
                  <a:cubicBezTo>
                    <a:pt x="74" y="185"/>
                    <a:pt x="74" y="102"/>
                    <a:pt x="74" y="18"/>
                  </a:cubicBezTo>
                  <a:cubicBezTo>
                    <a:pt x="55" y="18"/>
                    <a:pt x="37" y="18"/>
                    <a:pt x="18" y="18"/>
                  </a:cubicBezTo>
                  <a:cubicBezTo>
                    <a:pt x="18" y="101"/>
                    <a:pt x="18" y="184"/>
                    <a:pt x="18" y="26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500"/>
            </a:p>
          </p:txBody>
        </p:sp>
        <p:sp>
          <p:nvSpPr>
            <p:cNvPr id="103" name="Freeform 122">
              <a:extLst>
                <a:ext uri="{FF2B5EF4-FFF2-40B4-BE49-F238E27FC236}">
                  <a16:creationId xmlns:a16="http://schemas.microsoft.com/office/drawing/2014/main" xmlns="" id="{73C673EF-6AFA-4EB9-9C7C-F370BAAE4699}"/>
                </a:ext>
              </a:extLst>
            </p:cNvPr>
            <p:cNvSpPr>
              <a:spLocks/>
            </p:cNvSpPr>
            <p:nvPr/>
          </p:nvSpPr>
          <p:spPr bwMode="auto">
            <a:xfrm>
              <a:off x="2428" y="1708"/>
              <a:ext cx="740" cy="555"/>
            </a:xfrm>
            <a:custGeom>
              <a:avLst/>
              <a:gdLst>
                <a:gd name="T0" fmla="*/ 0 w 417"/>
                <a:gd name="T1" fmla="*/ 313 h 313"/>
                <a:gd name="T2" fmla="*/ 0 w 417"/>
                <a:gd name="T3" fmla="*/ 294 h 313"/>
                <a:gd name="T4" fmla="*/ 122 w 417"/>
                <a:gd name="T5" fmla="*/ 223 h 313"/>
                <a:gd name="T6" fmla="*/ 259 w 417"/>
                <a:gd name="T7" fmla="*/ 94 h 313"/>
                <a:gd name="T8" fmla="*/ 294 w 417"/>
                <a:gd name="T9" fmla="*/ 66 h 313"/>
                <a:gd name="T10" fmla="*/ 384 w 417"/>
                <a:gd name="T11" fmla="*/ 31 h 313"/>
                <a:gd name="T12" fmla="*/ 361 w 417"/>
                <a:gd name="T13" fmla="*/ 13 h 313"/>
                <a:gd name="T14" fmla="*/ 378 w 417"/>
                <a:gd name="T15" fmla="*/ 0 h 313"/>
                <a:gd name="T16" fmla="*/ 417 w 417"/>
                <a:gd name="T17" fmla="*/ 41 h 313"/>
                <a:gd name="T18" fmla="*/ 375 w 417"/>
                <a:gd name="T19" fmla="*/ 83 h 313"/>
                <a:gd name="T20" fmla="*/ 366 w 417"/>
                <a:gd name="T21" fmla="*/ 72 h 313"/>
                <a:gd name="T22" fmla="*/ 383 w 417"/>
                <a:gd name="T23" fmla="*/ 54 h 313"/>
                <a:gd name="T24" fmla="*/ 382 w 417"/>
                <a:gd name="T25" fmla="*/ 50 h 313"/>
                <a:gd name="T26" fmla="*/ 348 w 417"/>
                <a:gd name="T27" fmla="*/ 56 h 313"/>
                <a:gd name="T28" fmla="*/ 267 w 417"/>
                <a:gd name="T29" fmla="*/ 111 h 313"/>
                <a:gd name="T30" fmla="*/ 126 w 417"/>
                <a:gd name="T31" fmla="*/ 244 h 313"/>
                <a:gd name="T32" fmla="*/ 39 w 417"/>
                <a:gd name="T33" fmla="*/ 302 h 313"/>
                <a:gd name="T34" fmla="*/ 0 w 417"/>
                <a:gd name="T35" fmla="*/ 313 h 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17" h="313">
                  <a:moveTo>
                    <a:pt x="0" y="313"/>
                  </a:moveTo>
                  <a:cubicBezTo>
                    <a:pt x="0" y="305"/>
                    <a:pt x="0" y="299"/>
                    <a:pt x="0" y="294"/>
                  </a:cubicBezTo>
                  <a:cubicBezTo>
                    <a:pt x="51" y="287"/>
                    <a:pt x="87" y="255"/>
                    <a:pt x="122" y="223"/>
                  </a:cubicBezTo>
                  <a:cubicBezTo>
                    <a:pt x="168" y="180"/>
                    <a:pt x="213" y="137"/>
                    <a:pt x="259" y="94"/>
                  </a:cubicBezTo>
                  <a:cubicBezTo>
                    <a:pt x="270" y="84"/>
                    <a:pt x="281" y="74"/>
                    <a:pt x="294" y="66"/>
                  </a:cubicBezTo>
                  <a:cubicBezTo>
                    <a:pt x="320" y="46"/>
                    <a:pt x="348" y="30"/>
                    <a:pt x="384" y="31"/>
                  </a:cubicBezTo>
                  <a:cubicBezTo>
                    <a:pt x="377" y="25"/>
                    <a:pt x="370" y="20"/>
                    <a:pt x="361" y="13"/>
                  </a:cubicBezTo>
                  <a:cubicBezTo>
                    <a:pt x="369" y="7"/>
                    <a:pt x="374" y="4"/>
                    <a:pt x="378" y="0"/>
                  </a:cubicBezTo>
                  <a:cubicBezTo>
                    <a:pt x="391" y="14"/>
                    <a:pt x="405" y="28"/>
                    <a:pt x="417" y="41"/>
                  </a:cubicBezTo>
                  <a:cubicBezTo>
                    <a:pt x="404" y="54"/>
                    <a:pt x="390" y="68"/>
                    <a:pt x="375" y="83"/>
                  </a:cubicBezTo>
                  <a:cubicBezTo>
                    <a:pt x="373" y="81"/>
                    <a:pt x="370" y="77"/>
                    <a:pt x="366" y="72"/>
                  </a:cubicBezTo>
                  <a:cubicBezTo>
                    <a:pt x="371" y="66"/>
                    <a:pt x="377" y="60"/>
                    <a:pt x="383" y="54"/>
                  </a:cubicBezTo>
                  <a:cubicBezTo>
                    <a:pt x="383" y="52"/>
                    <a:pt x="383" y="51"/>
                    <a:pt x="382" y="50"/>
                  </a:cubicBezTo>
                  <a:cubicBezTo>
                    <a:pt x="371" y="52"/>
                    <a:pt x="359" y="52"/>
                    <a:pt x="348" y="56"/>
                  </a:cubicBezTo>
                  <a:cubicBezTo>
                    <a:pt x="316" y="68"/>
                    <a:pt x="291" y="89"/>
                    <a:pt x="267" y="111"/>
                  </a:cubicBezTo>
                  <a:cubicBezTo>
                    <a:pt x="220" y="155"/>
                    <a:pt x="174" y="200"/>
                    <a:pt x="126" y="244"/>
                  </a:cubicBezTo>
                  <a:cubicBezTo>
                    <a:pt x="100" y="268"/>
                    <a:pt x="72" y="289"/>
                    <a:pt x="39" y="302"/>
                  </a:cubicBezTo>
                  <a:cubicBezTo>
                    <a:pt x="27" y="307"/>
                    <a:pt x="14" y="309"/>
                    <a:pt x="0" y="3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500"/>
            </a:p>
          </p:txBody>
        </p:sp>
        <p:sp>
          <p:nvSpPr>
            <p:cNvPr id="104" name="Freeform 123">
              <a:extLst>
                <a:ext uri="{FF2B5EF4-FFF2-40B4-BE49-F238E27FC236}">
                  <a16:creationId xmlns:a16="http://schemas.microsoft.com/office/drawing/2014/main" xmlns="" id="{2B948B09-62F4-4700-B5F8-CF2A995F3C55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1" y="2097"/>
              <a:ext cx="162" cy="344"/>
            </a:xfrm>
            <a:custGeom>
              <a:avLst/>
              <a:gdLst>
                <a:gd name="T0" fmla="*/ 73 w 91"/>
                <a:gd name="T1" fmla="*/ 19 h 194"/>
                <a:gd name="T2" fmla="*/ 18 w 91"/>
                <a:gd name="T3" fmla="*/ 19 h 194"/>
                <a:gd name="T4" fmla="*/ 18 w 91"/>
                <a:gd name="T5" fmla="*/ 194 h 194"/>
                <a:gd name="T6" fmla="*/ 0 w 91"/>
                <a:gd name="T7" fmla="*/ 194 h 194"/>
                <a:gd name="T8" fmla="*/ 0 w 91"/>
                <a:gd name="T9" fmla="*/ 0 h 194"/>
                <a:gd name="T10" fmla="*/ 91 w 91"/>
                <a:gd name="T11" fmla="*/ 0 h 194"/>
                <a:gd name="T12" fmla="*/ 91 w 91"/>
                <a:gd name="T13" fmla="*/ 194 h 194"/>
                <a:gd name="T14" fmla="*/ 73 w 91"/>
                <a:gd name="T15" fmla="*/ 194 h 194"/>
                <a:gd name="T16" fmla="*/ 73 w 91"/>
                <a:gd name="T17" fmla="*/ 19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1" h="194">
                  <a:moveTo>
                    <a:pt x="73" y="19"/>
                  </a:moveTo>
                  <a:cubicBezTo>
                    <a:pt x="54" y="19"/>
                    <a:pt x="36" y="19"/>
                    <a:pt x="18" y="19"/>
                  </a:cubicBezTo>
                  <a:cubicBezTo>
                    <a:pt x="18" y="77"/>
                    <a:pt x="18" y="135"/>
                    <a:pt x="18" y="194"/>
                  </a:cubicBezTo>
                  <a:cubicBezTo>
                    <a:pt x="11" y="194"/>
                    <a:pt x="6" y="194"/>
                    <a:pt x="0" y="194"/>
                  </a:cubicBezTo>
                  <a:cubicBezTo>
                    <a:pt x="0" y="130"/>
                    <a:pt x="0" y="66"/>
                    <a:pt x="0" y="0"/>
                  </a:cubicBezTo>
                  <a:cubicBezTo>
                    <a:pt x="30" y="0"/>
                    <a:pt x="60" y="0"/>
                    <a:pt x="91" y="0"/>
                  </a:cubicBezTo>
                  <a:cubicBezTo>
                    <a:pt x="91" y="65"/>
                    <a:pt x="91" y="129"/>
                    <a:pt x="91" y="194"/>
                  </a:cubicBezTo>
                  <a:cubicBezTo>
                    <a:pt x="85" y="194"/>
                    <a:pt x="80" y="194"/>
                    <a:pt x="73" y="194"/>
                  </a:cubicBezTo>
                  <a:cubicBezTo>
                    <a:pt x="73" y="136"/>
                    <a:pt x="73" y="78"/>
                    <a:pt x="73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500"/>
            </a:p>
          </p:txBody>
        </p:sp>
        <p:sp>
          <p:nvSpPr>
            <p:cNvPr id="105" name="Freeform 124">
              <a:extLst>
                <a:ext uri="{FF2B5EF4-FFF2-40B4-BE49-F238E27FC236}">
                  <a16:creationId xmlns:a16="http://schemas.microsoft.com/office/drawing/2014/main" xmlns="" id="{ACDC92B8-0B70-472E-BD48-EB046F19AEBA}"/>
                </a:ext>
              </a:extLst>
            </p:cNvPr>
            <p:cNvSpPr>
              <a:spLocks/>
            </p:cNvSpPr>
            <p:nvPr/>
          </p:nvSpPr>
          <p:spPr bwMode="auto">
            <a:xfrm>
              <a:off x="2428" y="2494"/>
              <a:ext cx="789" cy="28"/>
            </a:xfrm>
            <a:custGeom>
              <a:avLst/>
              <a:gdLst>
                <a:gd name="T0" fmla="*/ 0 w 445"/>
                <a:gd name="T1" fmla="*/ 16 h 16"/>
                <a:gd name="T2" fmla="*/ 0 w 445"/>
                <a:gd name="T3" fmla="*/ 0 h 16"/>
                <a:gd name="T4" fmla="*/ 445 w 445"/>
                <a:gd name="T5" fmla="*/ 0 h 16"/>
                <a:gd name="T6" fmla="*/ 445 w 445"/>
                <a:gd name="T7" fmla="*/ 16 h 16"/>
                <a:gd name="T8" fmla="*/ 0 w 445"/>
                <a:gd name="T9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5" h="16">
                  <a:moveTo>
                    <a:pt x="0" y="16"/>
                  </a:moveTo>
                  <a:cubicBezTo>
                    <a:pt x="0" y="10"/>
                    <a:pt x="0" y="6"/>
                    <a:pt x="0" y="0"/>
                  </a:cubicBezTo>
                  <a:cubicBezTo>
                    <a:pt x="148" y="0"/>
                    <a:pt x="296" y="0"/>
                    <a:pt x="445" y="0"/>
                  </a:cubicBezTo>
                  <a:cubicBezTo>
                    <a:pt x="445" y="5"/>
                    <a:pt x="445" y="10"/>
                    <a:pt x="445" y="16"/>
                  </a:cubicBezTo>
                  <a:cubicBezTo>
                    <a:pt x="297" y="16"/>
                    <a:pt x="149" y="16"/>
                    <a:pt x="0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500"/>
            </a:p>
          </p:txBody>
        </p:sp>
        <p:sp>
          <p:nvSpPr>
            <p:cNvPr id="106" name="Freeform 125">
              <a:extLst>
                <a:ext uri="{FF2B5EF4-FFF2-40B4-BE49-F238E27FC236}">
                  <a16:creationId xmlns:a16="http://schemas.microsoft.com/office/drawing/2014/main" xmlns="" id="{29824F7B-84A0-45E9-800B-409B0A7EE8EC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3" y="2230"/>
              <a:ext cx="161" cy="211"/>
            </a:xfrm>
            <a:custGeom>
              <a:avLst/>
              <a:gdLst>
                <a:gd name="T0" fmla="*/ 91 w 91"/>
                <a:gd name="T1" fmla="*/ 119 h 119"/>
                <a:gd name="T2" fmla="*/ 74 w 91"/>
                <a:gd name="T3" fmla="*/ 119 h 119"/>
                <a:gd name="T4" fmla="*/ 74 w 91"/>
                <a:gd name="T5" fmla="*/ 18 h 119"/>
                <a:gd name="T6" fmla="*/ 18 w 91"/>
                <a:gd name="T7" fmla="*/ 18 h 119"/>
                <a:gd name="T8" fmla="*/ 18 w 91"/>
                <a:gd name="T9" fmla="*/ 119 h 119"/>
                <a:gd name="T10" fmla="*/ 0 w 91"/>
                <a:gd name="T11" fmla="*/ 119 h 119"/>
                <a:gd name="T12" fmla="*/ 0 w 91"/>
                <a:gd name="T13" fmla="*/ 0 h 119"/>
                <a:gd name="T14" fmla="*/ 91 w 91"/>
                <a:gd name="T15" fmla="*/ 0 h 119"/>
                <a:gd name="T16" fmla="*/ 91 w 91"/>
                <a:gd name="T17" fmla="*/ 119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1" h="119">
                  <a:moveTo>
                    <a:pt x="91" y="119"/>
                  </a:moveTo>
                  <a:cubicBezTo>
                    <a:pt x="85" y="119"/>
                    <a:pt x="80" y="119"/>
                    <a:pt x="74" y="119"/>
                  </a:cubicBezTo>
                  <a:cubicBezTo>
                    <a:pt x="74" y="85"/>
                    <a:pt x="74" y="52"/>
                    <a:pt x="74" y="18"/>
                  </a:cubicBezTo>
                  <a:cubicBezTo>
                    <a:pt x="55" y="18"/>
                    <a:pt x="37" y="18"/>
                    <a:pt x="18" y="18"/>
                  </a:cubicBezTo>
                  <a:cubicBezTo>
                    <a:pt x="18" y="52"/>
                    <a:pt x="18" y="85"/>
                    <a:pt x="18" y="119"/>
                  </a:cubicBezTo>
                  <a:cubicBezTo>
                    <a:pt x="12" y="119"/>
                    <a:pt x="6" y="119"/>
                    <a:pt x="0" y="119"/>
                  </a:cubicBezTo>
                  <a:cubicBezTo>
                    <a:pt x="0" y="80"/>
                    <a:pt x="0" y="40"/>
                    <a:pt x="0" y="0"/>
                  </a:cubicBezTo>
                  <a:cubicBezTo>
                    <a:pt x="30" y="0"/>
                    <a:pt x="60" y="0"/>
                    <a:pt x="91" y="0"/>
                  </a:cubicBezTo>
                  <a:cubicBezTo>
                    <a:pt x="91" y="39"/>
                    <a:pt x="91" y="79"/>
                    <a:pt x="91" y="1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500"/>
            </a:p>
          </p:txBody>
        </p:sp>
        <p:sp>
          <p:nvSpPr>
            <p:cNvPr id="107" name="Freeform 126">
              <a:extLst>
                <a:ext uri="{FF2B5EF4-FFF2-40B4-BE49-F238E27FC236}">
                  <a16:creationId xmlns:a16="http://schemas.microsoft.com/office/drawing/2014/main" xmlns="" id="{5302FAEF-A11B-4D57-A7FE-FEEF2BBA74D2}"/>
                </a:ext>
              </a:extLst>
            </p:cNvPr>
            <p:cNvSpPr>
              <a:spLocks/>
            </p:cNvSpPr>
            <p:nvPr/>
          </p:nvSpPr>
          <p:spPr bwMode="auto">
            <a:xfrm>
              <a:off x="2446" y="2361"/>
              <a:ext cx="161" cy="80"/>
            </a:xfrm>
            <a:custGeom>
              <a:avLst/>
              <a:gdLst>
                <a:gd name="T0" fmla="*/ 0 w 91"/>
                <a:gd name="T1" fmla="*/ 0 h 45"/>
                <a:gd name="T2" fmla="*/ 91 w 91"/>
                <a:gd name="T3" fmla="*/ 0 h 45"/>
                <a:gd name="T4" fmla="*/ 91 w 91"/>
                <a:gd name="T5" fmla="*/ 45 h 45"/>
                <a:gd name="T6" fmla="*/ 74 w 91"/>
                <a:gd name="T7" fmla="*/ 45 h 45"/>
                <a:gd name="T8" fmla="*/ 74 w 91"/>
                <a:gd name="T9" fmla="*/ 18 h 45"/>
                <a:gd name="T10" fmla="*/ 18 w 91"/>
                <a:gd name="T11" fmla="*/ 18 h 45"/>
                <a:gd name="T12" fmla="*/ 16 w 91"/>
                <a:gd name="T13" fmla="*/ 45 h 45"/>
                <a:gd name="T14" fmla="*/ 0 w 91"/>
                <a:gd name="T15" fmla="*/ 45 h 45"/>
                <a:gd name="T16" fmla="*/ 0 w 91"/>
                <a:gd name="T17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1" h="45">
                  <a:moveTo>
                    <a:pt x="0" y="0"/>
                  </a:moveTo>
                  <a:cubicBezTo>
                    <a:pt x="31" y="0"/>
                    <a:pt x="60" y="0"/>
                    <a:pt x="91" y="0"/>
                  </a:cubicBezTo>
                  <a:cubicBezTo>
                    <a:pt x="91" y="15"/>
                    <a:pt x="91" y="30"/>
                    <a:pt x="91" y="45"/>
                  </a:cubicBezTo>
                  <a:cubicBezTo>
                    <a:pt x="85" y="45"/>
                    <a:pt x="80" y="45"/>
                    <a:pt x="74" y="45"/>
                  </a:cubicBezTo>
                  <a:cubicBezTo>
                    <a:pt x="74" y="36"/>
                    <a:pt x="74" y="28"/>
                    <a:pt x="74" y="18"/>
                  </a:cubicBezTo>
                  <a:cubicBezTo>
                    <a:pt x="55" y="18"/>
                    <a:pt x="37" y="18"/>
                    <a:pt x="18" y="18"/>
                  </a:cubicBezTo>
                  <a:cubicBezTo>
                    <a:pt x="17" y="27"/>
                    <a:pt x="17" y="35"/>
                    <a:pt x="16" y="45"/>
                  </a:cubicBezTo>
                  <a:cubicBezTo>
                    <a:pt x="11" y="45"/>
                    <a:pt x="6" y="45"/>
                    <a:pt x="0" y="45"/>
                  </a:cubicBezTo>
                  <a:cubicBezTo>
                    <a:pt x="0" y="30"/>
                    <a:pt x="0" y="16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500"/>
            </a:p>
          </p:txBody>
        </p:sp>
      </p:grpSp>
      <p:sp>
        <p:nvSpPr>
          <p:cNvPr id="130" name="TextBox 129">
            <a:extLst>
              <a:ext uri="{FF2B5EF4-FFF2-40B4-BE49-F238E27FC236}">
                <a16:creationId xmlns:a16="http://schemas.microsoft.com/office/drawing/2014/main" xmlns="" id="{BFA34CA9-DD2A-416F-8EDB-F9945C453A3B}"/>
              </a:ext>
            </a:extLst>
          </p:cNvPr>
          <p:cNvSpPr txBox="1">
            <a:spLocks/>
          </p:cNvSpPr>
          <p:nvPr/>
        </p:nvSpPr>
        <p:spPr>
          <a:xfrm>
            <a:off x="315458" y="3736191"/>
            <a:ext cx="344707" cy="45320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endParaRPr lang="en-GB" sz="2800" dirty="0">
              <a:solidFill>
                <a:schemeClr val="tx2"/>
              </a:solidFill>
              <a:latin typeface="Georgia" panose="02040502050405020303" pitchFamily="18" charset="0"/>
            </a:endParaRPr>
          </a:p>
        </p:txBody>
      </p:sp>
      <p:sp>
        <p:nvSpPr>
          <p:cNvPr id="111" name="!ObjectB-00794">
            <a:extLst>
              <a:ext uri="{FF2B5EF4-FFF2-40B4-BE49-F238E27FC236}">
                <a16:creationId xmlns:a16="http://schemas.microsoft.com/office/drawing/2014/main" xmlns="" id="{65C1BC4D-027F-414E-9A00-9F7E037FAAF5}"/>
              </a:ext>
            </a:extLst>
          </p:cNvPr>
          <p:cNvSpPr txBox="1">
            <a:spLocks/>
          </p:cNvSpPr>
          <p:nvPr/>
        </p:nvSpPr>
        <p:spPr>
          <a:xfrm>
            <a:off x="1412174" y="4729471"/>
            <a:ext cx="3045995" cy="69249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500" dirty="0"/>
              <a:t>Judgement-based customer prioritization and associated pitch, decision making</a:t>
            </a:r>
            <a:endParaRPr lang="en-GB" sz="1500" dirty="0"/>
          </a:p>
        </p:txBody>
      </p:sp>
      <p:sp>
        <p:nvSpPr>
          <p:cNvPr id="112" name="TextBox 111">
            <a:extLst>
              <a:ext uri="{FF2B5EF4-FFF2-40B4-BE49-F238E27FC236}">
                <a16:creationId xmlns:a16="http://schemas.microsoft.com/office/drawing/2014/main" xmlns="" id="{BA15E41F-5019-45E2-9CC9-476F40B9B3AB}"/>
              </a:ext>
            </a:extLst>
          </p:cNvPr>
          <p:cNvSpPr txBox="1">
            <a:spLocks/>
          </p:cNvSpPr>
          <p:nvPr/>
        </p:nvSpPr>
        <p:spPr>
          <a:xfrm>
            <a:off x="7892421" y="4747403"/>
            <a:ext cx="3736689" cy="69249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GB" sz="1500" dirty="0"/>
              <a:t>Powered by virtual assistants, analytics-based inputs for customer prioritisation and decision making</a:t>
            </a:r>
          </a:p>
        </p:txBody>
      </p:sp>
      <p:grpSp>
        <p:nvGrpSpPr>
          <p:cNvPr id="113" name="Group 72">
            <a:extLst>
              <a:ext uri="{FF2B5EF4-FFF2-40B4-BE49-F238E27FC236}">
                <a16:creationId xmlns:a16="http://schemas.microsoft.com/office/drawing/2014/main" xmlns="" id="{108651E6-024D-4EAB-B7B3-EBAA4033E7DD}"/>
              </a:ext>
            </a:extLst>
          </p:cNvPr>
          <p:cNvGrpSpPr>
            <a:grpSpLocks noChangeAspect="1"/>
          </p:cNvGrpSpPr>
          <p:nvPr/>
        </p:nvGrpSpPr>
        <p:grpSpPr bwMode="auto">
          <a:xfrm flipH="1">
            <a:off x="810792" y="4811562"/>
            <a:ext cx="392352" cy="528312"/>
            <a:chOff x="2113" y="1053"/>
            <a:chExt cx="1409" cy="2117"/>
          </a:xfrm>
          <a:solidFill>
            <a:schemeClr val="tx2"/>
          </a:solidFill>
        </p:grpSpPr>
        <p:sp>
          <p:nvSpPr>
            <p:cNvPr id="124" name="Freeform 73">
              <a:extLst>
                <a:ext uri="{FF2B5EF4-FFF2-40B4-BE49-F238E27FC236}">
                  <a16:creationId xmlns:a16="http://schemas.microsoft.com/office/drawing/2014/main" xmlns="" id="{3497F7AD-1AAB-4504-AAE2-5AE26A16875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57" y="1053"/>
              <a:ext cx="1157" cy="1004"/>
            </a:xfrm>
            <a:custGeom>
              <a:avLst/>
              <a:gdLst>
                <a:gd name="T0" fmla="*/ 150 w 654"/>
                <a:gd name="T1" fmla="*/ 157 h 568"/>
                <a:gd name="T2" fmla="*/ 306 w 654"/>
                <a:gd name="T3" fmla="*/ 395 h 568"/>
                <a:gd name="T4" fmla="*/ 365 w 654"/>
                <a:gd name="T5" fmla="*/ 392 h 568"/>
                <a:gd name="T6" fmla="*/ 373 w 654"/>
                <a:gd name="T7" fmla="*/ 386 h 568"/>
                <a:gd name="T8" fmla="*/ 500 w 654"/>
                <a:gd name="T9" fmla="*/ 165 h 568"/>
                <a:gd name="T10" fmla="*/ 497 w 654"/>
                <a:gd name="T11" fmla="*/ 151 h 568"/>
                <a:gd name="T12" fmla="*/ 484 w 654"/>
                <a:gd name="T13" fmla="*/ 55 h 568"/>
                <a:gd name="T14" fmla="*/ 570 w 654"/>
                <a:gd name="T15" fmla="*/ 10 h 568"/>
                <a:gd name="T16" fmla="*/ 642 w 654"/>
                <a:gd name="T17" fmla="*/ 76 h 568"/>
                <a:gd name="T18" fmla="*/ 555 w 654"/>
                <a:gd name="T19" fmla="*/ 178 h 568"/>
                <a:gd name="T20" fmla="*/ 534 w 654"/>
                <a:gd name="T21" fmla="*/ 190 h 568"/>
                <a:gd name="T22" fmla="*/ 412 w 654"/>
                <a:gd name="T23" fmla="*/ 404 h 568"/>
                <a:gd name="T24" fmla="*/ 413 w 654"/>
                <a:gd name="T25" fmla="*/ 423 h 568"/>
                <a:gd name="T26" fmla="*/ 409 w 654"/>
                <a:gd name="T27" fmla="*/ 533 h 568"/>
                <a:gd name="T28" fmla="*/ 299 w 654"/>
                <a:gd name="T29" fmla="*/ 545 h 568"/>
                <a:gd name="T30" fmla="*/ 272 w 654"/>
                <a:gd name="T31" fmla="*/ 438 h 568"/>
                <a:gd name="T32" fmla="*/ 270 w 654"/>
                <a:gd name="T33" fmla="*/ 418 h 568"/>
                <a:gd name="T34" fmla="*/ 119 w 654"/>
                <a:gd name="T35" fmla="*/ 186 h 568"/>
                <a:gd name="T36" fmla="*/ 103 w 654"/>
                <a:gd name="T37" fmla="*/ 178 h 568"/>
                <a:gd name="T38" fmla="*/ 12 w 654"/>
                <a:gd name="T39" fmla="*/ 119 h 568"/>
                <a:gd name="T40" fmla="*/ 54 w 654"/>
                <a:gd name="T41" fmla="*/ 19 h 568"/>
                <a:gd name="T42" fmla="*/ 159 w 654"/>
                <a:gd name="T43" fmla="*/ 41 h 568"/>
                <a:gd name="T44" fmla="*/ 157 w 654"/>
                <a:gd name="T45" fmla="*/ 149 h 568"/>
                <a:gd name="T46" fmla="*/ 150 w 654"/>
                <a:gd name="T47" fmla="*/ 157 h 568"/>
                <a:gd name="T48" fmla="*/ 135 w 654"/>
                <a:gd name="T49" fmla="*/ 94 h 568"/>
                <a:gd name="T50" fmla="*/ 94 w 654"/>
                <a:gd name="T51" fmla="*/ 52 h 568"/>
                <a:gd name="T52" fmla="*/ 51 w 654"/>
                <a:gd name="T53" fmla="*/ 94 h 568"/>
                <a:gd name="T54" fmla="*/ 93 w 654"/>
                <a:gd name="T55" fmla="*/ 136 h 568"/>
                <a:gd name="T56" fmla="*/ 135 w 654"/>
                <a:gd name="T57" fmla="*/ 94 h 568"/>
                <a:gd name="T58" fmla="*/ 601 w 654"/>
                <a:gd name="T59" fmla="*/ 94 h 568"/>
                <a:gd name="T60" fmla="*/ 559 w 654"/>
                <a:gd name="T61" fmla="*/ 52 h 568"/>
                <a:gd name="T62" fmla="*/ 517 w 654"/>
                <a:gd name="T63" fmla="*/ 94 h 568"/>
                <a:gd name="T64" fmla="*/ 558 w 654"/>
                <a:gd name="T65" fmla="*/ 136 h 568"/>
                <a:gd name="T66" fmla="*/ 601 w 654"/>
                <a:gd name="T67" fmla="*/ 94 h 568"/>
                <a:gd name="T68" fmla="*/ 389 w 654"/>
                <a:gd name="T69" fmla="*/ 475 h 568"/>
                <a:gd name="T70" fmla="*/ 345 w 654"/>
                <a:gd name="T71" fmla="*/ 433 h 568"/>
                <a:gd name="T72" fmla="*/ 305 w 654"/>
                <a:gd name="T73" fmla="*/ 475 h 568"/>
                <a:gd name="T74" fmla="*/ 347 w 654"/>
                <a:gd name="T75" fmla="*/ 517 h 568"/>
                <a:gd name="T76" fmla="*/ 389 w 654"/>
                <a:gd name="T77" fmla="*/ 475 h 5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654" h="568">
                  <a:moveTo>
                    <a:pt x="150" y="157"/>
                  </a:moveTo>
                  <a:cubicBezTo>
                    <a:pt x="203" y="238"/>
                    <a:pt x="256" y="318"/>
                    <a:pt x="306" y="395"/>
                  </a:cubicBezTo>
                  <a:cubicBezTo>
                    <a:pt x="328" y="394"/>
                    <a:pt x="346" y="394"/>
                    <a:pt x="365" y="392"/>
                  </a:cubicBezTo>
                  <a:cubicBezTo>
                    <a:pt x="368" y="392"/>
                    <a:pt x="372" y="389"/>
                    <a:pt x="373" y="386"/>
                  </a:cubicBezTo>
                  <a:cubicBezTo>
                    <a:pt x="416" y="313"/>
                    <a:pt x="458" y="239"/>
                    <a:pt x="500" y="165"/>
                  </a:cubicBezTo>
                  <a:cubicBezTo>
                    <a:pt x="504" y="158"/>
                    <a:pt x="501" y="155"/>
                    <a:pt x="497" y="151"/>
                  </a:cubicBezTo>
                  <a:cubicBezTo>
                    <a:pt x="472" y="123"/>
                    <a:pt x="467" y="87"/>
                    <a:pt x="484" y="55"/>
                  </a:cubicBezTo>
                  <a:cubicBezTo>
                    <a:pt x="500" y="24"/>
                    <a:pt x="535" y="5"/>
                    <a:pt x="570" y="10"/>
                  </a:cubicBezTo>
                  <a:cubicBezTo>
                    <a:pt x="605" y="15"/>
                    <a:pt x="634" y="41"/>
                    <a:pt x="642" y="76"/>
                  </a:cubicBezTo>
                  <a:cubicBezTo>
                    <a:pt x="654" y="130"/>
                    <a:pt x="611" y="181"/>
                    <a:pt x="555" y="178"/>
                  </a:cubicBezTo>
                  <a:cubicBezTo>
                    <a:pt x="544" y="178"/>
                    <a:pt x="539" y="181"/>
                    <a:pt x="534" y="190"/>
                  </a:cubicBezTo>
                  <a:cubicBezTo>
                    <a:pt x="494" y="262"/>
                    <a:pt x="453" y="333"/>
                    <a:pt x="412" y="404"/>
                  </a:cubicBezTo>
                  <a:cubicBezTo>
                    <a:pt x="408" y="411"/>
                    <a:pt x="408" y="416"/>
                    <a:pt x="413" y="423"/>
                  </a:cubicBezTo>
                  <a:cubicBezTo>
                    <a:pt x="440" y="456"/>
                    <a:pt x="438" y="502"/>
                    <a:pt x="409" y="533"/>
                  </a:cubicBezTo>
                  <a:cubicBezTo>
                    <a:pt x="380" y="563"/>
                    <a:pt x="333" y="568"/>
                    <a:pt x="299" y="545"/>
                  </a:cubicBezTo>
                  <a:cubicBezTo>
                    <a:pt x="265" y="520"/>
                    <a:pt x="253" y="476"/>
                    <a:pt x="272" y="438"/>
                  </a:cubicBezTo>
                  <a:cubicBezTo>
                    <a:pt x="276" y="430"/>
                    <a:pt x="275" y="425"/>
                    <a:pt x="270" y="418"/>
                  </a:cubicBezTo>
                  <a:cubicBezTo>
                    <a:pt x="220" y="341"/>
                    <a:pt x="169" y="263"/>
                    <a:pt x="119" y="186"/>
                  </a:cubicBezTo>
                  <a:cubicBezTo>
                    <a:pt x="115" y="180"/>
                    <a:pt x="112" y="177"/>
                    <a:pt x="103" y="178"/>
                  </a:cubicBezTo>
                  <a:cubicBezTo>
                    <a:pt x="62" y="183"/>
                    <a:pt x="25" y="158"/>
                    <a:pt x="12" y="119"/>
                  </a:cubicBezTo>
                  <a:cubicBezTo>
                    <a:pt x="0" y="80"/>
                    <a:pt x="18" y="38"/>
                    <a:pt x="54" y="19"/>
                  </a:cubicBezTo>
                  <a:cubicBezTo>
                    <a:pt x="90" y="0"/>
                    <a:pt x="134" y="10"/>
                    <a:pt x="159" y="41"/>
                  </a:cubicBezTo>
                  <a:cubicBezTo>
                    <a:pt x="185" y="73"/>
                    <a:pt x="184" y="117"/>
                    <a:pt x="157" y="149"/>
                  </a:cubicBezTo>
                  <a:cubicBezTo>
                    <a:pt x="155" y="152"/>
                    <a:pt x="153" y="154"/>
                    <a:pt x="150" y="157"/>
                  </a:cubicBezTo>
                  <a:close/>
                  <a:moveTo>
                    <a:pt x="135" y="94"/>
                  </a:moveTo>
                  <a:cubicBezTo>
                    <a:pt x="135" y="71"/>
                    <a:pt x="117" y="52"/>
                    <a:pt x="94" y="52"/>
                  </a:cubicBezTo>
                  <a:cubicBezTo>
                    <a:pt x="70" y="52"/>
                    <a:pt x="51" y="71"/>
                    <a:pt x="51" y="94"/>
                  </a:cubicBezTo>
                  <a:cubicBezTo>
                    <a:pt x="51" y="118"/>
                    <a:pt x="70" y="136"/>
                    <a:pt x="93" y="136"/>
                  </a:cubicBezTo>
                  <a:cubicBezTo>
                    <a:pt x="117" y="136"/>
                    <a:pt x="136" y="118"/>
                    <a:pt x="135" y="94"/>
                  </a:cubicBezTo>
                  <a:close/>
                  <a:moveTo>
                    <a:pt x="601" y="94"/>
                  </a:moveTo>
                  <a:cubicBezTo>
                    <a:pt x="601" y="71"/>
                    <a:pt x="583" y="52"/>
                    <a:pt x="559" y="52"/>
                  </a:cubicBezTo>
                  <a:cubicBezTo>
                    <a:pt x="536" y="51"/>
                    <a:pt x="516" y="71"/>
                    <a:pt x="517" y="94"/>
                  </a:cubicBezTo>
                  <a:cubicBezTo>
                    <a:pt x="517" y="117"/>
                    <a:pt x="535" y="136"/>
                    <a:pt x="558" y="136"/>
                  </a:cubicBezTo>
                  <a:cubicBezTo>
                    <a:pt x="582" y="137"/>
                    <a:pt x="601" y="118"/>
                    <a:pt x="601" y="94"/>
                  </a:cubicBezTo>
                  <a:close/>
                  <a:moveTo>
                    <a:pt x="389" y="475"/>
                  </a:moveTo>
                  <a:cubicBezTo>
                    <a:pt x="390" y="451"/>
                    <a:pt x="370" y="432"/>
                    <a:pt x="345" y="433"/>
                  </a:cubicBezTo>
                  <a:cubicBezTo>
                    <a:pt x="324" y="433"/>
                    <a:pt x="305" y="453"/>
                    <a:pt x="305" y="475"/>
                  </a:cubicBezTo>
                  <a:cubicBezTo>
                    <a:pt x="305" y="498"/>
                    <a:pt x="323" y="517"/>
                    <a:pt x="347" y="517"/>
                  </a:cubicBezTo>
                  <a:cubicBezTo>
                    <a:pt x="371" y="517"/>
                    <a:pt x="389" y="499"/>
                    <a:pt x="389" y="4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500">
                <a:solidFill>
                  <a:schemeClr val="tx2"/>
                </a:solidFill>
              </a:endParaRPr>
            </a:p>
          </p:txBody>
        </p:sp>
        <p:sp>
          <p:nvSpPr>
            <p:cNvPr id="125" name="Freeform 74">
              <a:extLst>
                <a:ext uri="{FF2B5EF4-FFF2-40B4-BE49-F238E27FC236}">
                  <a16:creationId xmlns:a16="http://schemas.microsoft.com/office/drawing/2014/main" xmlns="" id="{9CC4466D-1B27-4218-9D88-6F0447D5708A}"/>
                </a:ext>
              </a:extLst>
            </p:cNvPr>
            <p:cNvSpPr>
              <a:spLocks/>
            </p:cNvSpPr>
            <p:nvPr/>
          </p:nvSpPr>
          <p:spPr bwMode="auto">
            <a:xfrm>
              <a:off x="2113" y="1599"/>
              <a:ext cx="552" cy="1568"/>
            </a:xfrm>
            <a:custGeom>
              <a:avLst/>
              <a:gdLst>
                <a:gd name="T0" fmla="*/ 62 w 312"/>
                <a:gd name="T1" fmla="*/ 458 h 887"/>
                <a:gd name="T2" fmla="*/ 87 w 312"/>
                <a:gd name="T3" fmla="*/ 458 h 887"/>
                <a:gd name="T4" fmla="*/ 112 w 312"/>
                <a:gd name="T5" fmla="*/ 484 h 887"/>
                <a:gd name="T6" fmla="*/ 112 w 312"/>
                <a:gd name="T7" fmla="*/ 625 h 887"/>
                <a:gd name="T8" fmla="*/ 112 w 312"/>
                <a:gd name="T9" fmla="*/ 639 h 887"/>
                <a:gd name="T10" fmla="*/ 145 w 312"/>
                <a:gd name="T11" fmla="*/ 639 h 887"/>
                <a:gd name="T12" fmla="*/ 227 w 312"/>
                <a:gd name="T13" fmla="*/ 639 h 887"/>
                <a:gd name="T14" fmla="*/ 255 w 312"/>
                <a:gd name="T15" fmla="*/ 663 h 887"/>
                <a:gd name="T16" fmla="*/ 277 w 312"/>
                <a:gd name="T17" fmla="*/ 858 h 887"/>
                <a:gd name="T18" fmla="*/ 258 w 312"/>
                <a:gd name="T19" fmla="*/ 885 h 887"/>
                <a:gd name="T20" fmla="*/ 235 w 312"/>
                <a:gd name="T21" fmla="*/ 862 h 887"/>
                <a:gd name="T22" fmla="*/ 216 w 312"/>
                <a:gd name="T23" fmla="*/ 688 h 887"/>
                <a:gd name="T24" fmla="*/ 214 w 312"/>
                <a:gd name="T25" fmla="*/ 681 h 887"/>
                <a:gd name="T26" fmla="*/ 144 w 312"/>
                <a:gd name="T27" fmla="*/ 681 h 887"/>
                <a:gd name="T28" fmla="*/ 95 w 312"/>
                <a:gd name="T29" fmla="*/ 681 h 887"/>
                <a:gd name="T30" fmla="*/ 69 w 312"/>
                <a:gd name="T31" fmla="*/ 654 h 887"/>
                <a:gd name="T32" fmla="*/ 69 w 312"/>
                <a:gd name="T33" fmla="*/ 517 h 887"/>
                <a:gd name="T34" fmla="*/ 69 w 312"/>
                <a:gd name="T35" fmla="*/ 500 h 887"/>
                <a:gd name="T36" fmla="*/ 40 w 312"/>
                <a:gd name="T37" fmla="*/ 501 h 887"/>
                <a:gd name="T38" fmla="*/ 13 w 312"/>
                <a:gd name="T39" fmla="*/ 459 h 887"/>
                <a:gd name="T40" fmla="*/ 115 w 312"/>
                <a:gd name="T41" fmla="*/ 257 h 887"/>
                <a:gd name="T42" fmla="*/ 130 w 312"/>
                <a:gd name="T43" fmla="*/ 215 h 887"/>
                <a:gd name="T44" fmla="*/ 274 w 312"/>
                <a:gd name="T45" fmla="*/ 8 h 887"/>
                <a:gd name="T46" fmla="*/ 282 w 312"/>
                <a:gd name="T47" fmla="*/ 4 h 887"/>
                <a:gd name="T48" fmla="*/ 306 w 312"/>
                <a:gd name="T49" fmla="*/ 12 h 887"/>
                <a:gd name="T50" fmla="*/ 304 w 312"/>
                <a:gd name="T51" fmla="*/ 38 h 887"/>
                <a:gd name="T52" fmla="*/ 296 w 312"/>
                <a:gd name="T53" fmla="*/ 45 h 887"/>
                <a:gd name="T54" fmla="*/ 168 w 312"/>
                <a:gd name="T55" fmla="*/ 239 h 887"/>
                <a:gd name="T56" fmla="*/ 161 w 312"/>
                <a:gd name="T57" fmla="*/ 260 h 887"/>
                <a:gd name="T58" fmla="*/ 69 w 312"/>
                <a:gd name="T59" fmla="*/ 443 h 887"/>
                <a:gd name="T60" fmla="*/ 62 w 312"/>
                <a:gd name="T61" fmla="*/ 458 h 8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12" h="887">
                  <a:moveTo>
                    <a:pt x="62" y="458"/>
                  </a:moveTo>
                  <a:cubicBezTo>
                    <a:pt x="72" y="458"/>
                    <a:pt x="79" y="458"/>
                    <a:pt x="87" y="458"/>
                  </a:cubicBezTo>
                  <a:cubicBezTo>
                    <a:pt x="104" y="459"/>
                    <a:pt x="111" y="466"/>
                    <a:pt x="112" y="484"/>
                  </a:cubicBezTo>
                  <a:cubicBezTo>
                    <a:pt x="112" y="531"/>
                    <a:pt x="112" y="578"/>
                    <a:pt x="112" y="625"/>
                  </a:cubicBezTo>
                  <a:cubicBezTo>
                    <a:pt x="112" y="629"/>
                    <a:pt x="112" y="633"/>
                    <a:pt x="112" y="639"/>
                  </a:cubicBezTo>
                  <a:cubicBezTo>
                    <a:pt x="124" y="639"/>
                    <a:pt x="134" y="639"/>
                    <a:pt x="145" y="639"/>
                  </a:cubicBezTo>
                  <a:cubicBezTo>
                    <a:pt x="173" y="639"/>
                    <a:pt x="200" y="638"/>
                    <a:pt x="227" y="639"/>
                  </a:cubicBezTo>
                  <a:cubicBezTo>
                    <a:pt x="247" y="639"/>
                    <a:pt x="253" y="644"/>
                    <a:pt x="255" y="663"/>
                  </a:cubicBezTo>
                  <a:cubicBezTo>
                    <a:pt x="263" y="728"/>
                    <a:pt x="270" y="793"/>
                    <a:pt x="277" y="858"/>
                  </a:cubicBezTo>
                  <a:cubicBezTo>
                    <a:pt x="278" y="875"/>
                    <a:pt x="272" y="884"/>
                    <a:pt x="258" y="885"/>
                  </a:cubicBezTo>
                  <a:cubicBezTo>
                    <a:pt x="244" y="887"/>
                    <a:pt x="237" y="879"/>
                    <a:pt x="235" y="862"/>
                  </a:cubicBezTo>
                  <a:cubicBezTo>
                    <a:pt x="228" y="804"/>
                    <a:pt x="222" y="746"/>
                    <a:pt x="216" y="688"/>
                  </a:cubicBezTo>
                  <a:cubicBezTo>
                    <a:pt x="215" y="686"/>
                    <a:pt x="215" y="684"/>
                    <a:pt x="214" y="681"/>
                  </a:cubicBezTo>
                  <a:cubicBezTo>
                    <a:pt x="191" y="681"/>
                    <a:pt x="168" y="681"/>
                    <a:pt x="144" y="681"/>
                  </a:cubicBezTo>
                  <a:cubicBezTo>
                    <a:pt x="128" y="681"/>
                    <a:pt x="112" y="681"/>
                    <a:pt x="95" y="681"/>
                  </a:cubicBezTo>
                  <a:cubicBezTo>
                    <a:pt x="77" y="681"/>
                    <a:pt x="69" y="673"/>
                    <a:pt x="69" y="654"/>
                  </a:cubicBezTo>
                  <a:cubicBezTo>
                    <a:pt x="69" y="608"/>
                    <a:pt x="69" y="563"/>
                    <a:pt x="69" y="517"/>
                  </a:cubicBezTo>
                  <a:cubicBezTo>
                    <a:pt x="69" y="512"/>
                    <a:pt x="69" y="507"/>
                    <a:pt x="69" y="500"/>
                  </a:cubicBezTo>
                  <a:cubicBezTo>
                    <a:pt x="59" y="500"/>
                    <a:pt x="49" y="500"/>
                    <a:pt x="40" y="501"/>
                  </a:cubicBezTo>
                  <a:cubicBezTo>
                    <a:pt x="10" y="504"/>
                    <a:pt x="0" y="485"/>
                    <a:pt x="13" y="459"/>
                  </a:cubicBezTo>
                  <a:cubicBezTo>
                    <a:pt x="49" y="392"/>
                    <a:pt x="82" y="324"/>
                    <a:pt x="115" y="257"/>
                  </a:cubicBezTo>
                  <a:cubicBezTo>
                    <a:pt x="122" y="243"/>
                    <a:pt x="127" y="229"/>
                    <a:pt x="130" y="215"/>
                  </a:cubicBezTo>
                  <a:cubicBezTo>
                    <a:pt x="151" y="127"/>
                    <a:pt x="199" y="58"/>
                    <a:pt x="274" y="8"/>
                  </a:cubicBezTo>
                  <a:cubicBezTo>
                    <a:pt x="276" y="7"/>
                    <a:pt x="279" y="5"/>
                    <a:pt x="282" y="4"/>
                  </a:cubicBezTo>
                  <a:cubicBezTo>
                    <a:pt x="292" y="0"/>
                    <a:pt x="300" y="3"/>
                    <a:pt x="306" y="12"/>
                  </a:cubicBezTo>
                  <a:cubicBezTo>
                    <a:pt x="312" y="21"/>
                    <a:pt x="312" y="30"/>
                    <a:pt x="304" y="38"/>
                  </a:cubicBezTo>
                  <a:cubicBezTo>
                    <a:pt x="302" y="41"/>
                    <a:pt x="298" y="43"/>
                    <a:pt x="296" y="45"/>
                  </a:cubicBezTo>
                  <a:cubicBezTo>
                    <a:pt x="226" y="92"/>
                    <a:pt x="184" y="157"/>
                    <a:pt x="168" y="239"/>
                  </a:cubicBezTo>
                  <a:cubicBezTo>
                    <a:pt x="167" y="246"/>
                    <a:pt x="164" y="254"/>
                    <a:pt x="161" y="260"/>
                  </a:cubicBezTo>
                  <a:cubicBezTo>
                    <a:pt x="131" y="321"/>
                    <a:pt x="100" y="382"/>
                    <a:pt x="69" y="443"/>
                  </a:cubicBezTo>
                  <a:cubicBezTo>
                    <a:pt x="67" y="447"/>
                    <a:pt x="65" y="452"/>
                    <a:pt x="62" y="45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500">
                <a:solidFill>
                  <a:schemeClr val="tx2"/>
                </a:solidFill>
              </a:endParaRPr>
            </a:p>
          </p:txBody>
        </p:sp>
        <p:sp>
          <p:nvSpPr>
            <p:cNvPr id="126" name="Freeform 75">
              <a:extLst>
                <a:ext uri="{FF2B5EF4-FFF2-40B4-BE49-F238E27FC236}">
                  <a16:creationId xmlns:a16="http://schemas.microsoft.com/office/drawing/2014/main" xmlns="" id="{E5DF1456-DED1-4271-A7EC-7FA5E1FB13B8}"/>
                </a:ext>
              </a:extLst>
            </p:cNvPr>
            <p:cNvSpPr>
              <a:spLocks/>
            </p:cNvSpPr>
            <p:nvPr/>
          </p:nvSpPr>
          <p:spPr bwMode="auto">
            <a:xfrm>
              <a:off x="3185" y="1618"/>
              <a:ext cx="337" cy="1552"/>
            </a:xfrm>
            <a:custGeom>
              <a:avLst/>
              <a:gdLst>
                <a:gd name="T0" fmla="*/ 189 w 190"/>
                <a:gd name="T1" fmla="*/ 279 h 878"/>
                <a:gd name="T2" fmla="*/ 171 w 190"/>
                <a:gd name="T3" fmla="*/ 364 h 878"/>
                <a:gd name="T4" fmla="*/ 48 w 190"/>
                <a:gd name="T5" fmla="*/ 633 h 878"/>
                <a:gd name="T6" fmla="*/ 43 w 190"/>
                <a:gd name="T7" fmla="*/ 657 h 878"/>
                <a:gd name="T8" fmla="*/ 59 w 190"/>
                <a:gd name="T9" fmla="*/ 849 h 878"/>
                <a:gd name="T10" fmla="*/ 33 w 190"/>
                <a:gd name="T11" fmla="*/ 874 h 878"/>
                <a:gd name="T12" fmla="*/ 17 w 190"/>
                <a:gd name="T13" fmla="*/ 851 h 878"/>
                <a:gd name="T14" fmla="*/ 9 w 190"/>
                <a:gd name="T15" fmla="*/ 759 h 878"/>
                <a:gd name="T16" fmla="*/ 0 w 190"/>
                <a:gd name="T17" fmla="*/ 651 h 878"/>
                <a:gd name="T18" fmla="*/ 5 w 190"/>
                <a:gd name="T19" fmla="*/ 625 h 878"/>
                <a:gd name="T20" fmla="*/ 129 w 190"/>
                <a:gd name="T21" fmla="*/ 353 h 878"/>
                <a:gd name="T22" fmla="*/ 145 w 190"/>
                <a:gd name="T23" fmla="*/ 248 h 878"/>
                <a:gd name="T24" fmla="*/ 29 w 190"/>
                <a:gd name="T25" fmla="*/ 44 h 878"/>
                <a:gd name="T26" fmla="*/ 21 w 190"/>
                <a:gd name="T27" fmla="*/ 11 h 878"/>
                <a:gd name="T28" fmla="*/ 55 w 190"/>
                <a:gd name="T29" fmla="*/ 10 h 878"/>
                <a:gd name="T30" fmla="*/ 189 w 190"/>
                <a:gd name="T31" fmla="*/ 279 h 8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0" h="878">
                  <a:moveTo>
                    <a:pt x="189" y="279"/>
                  </a:moveTo>
                  <a:cubicBezTo>
                    <a:pt x="190" y="309"/>
                    <a:pt x="184" y="337"/>
                    <a:pt x="171" y="364"/>
                  </a:cubicBezTo>
                  <a:cubicBezTo>
                    <a:pt x="129" y="453"/>
                    <a:pt x="88" y="543"/>
                    <a:pt x="48" y="633"/>
                  </a:cubicBezTo>
                  <a:cubicBezTo>
                    <a:pt x="44" y="640"/>
                    <a:pt x="43" y="649"/>
                    <a:pt x="43" y="657"/>
                  </a:cubicBezTo>
                  <a:cubicBezTo>
                    <a:pt x="48" y="721"/>
                    <a:pt x="54" y="785"/>
                    <a:pt x="59" y="849"/>
                  </a:cubicBezTo>
                  <a:cubicBezTo>
                    <a:pt x="61" y="868"/>
                    <a:pt x="49" y="878"/>
                    <a:pt x="33" y="874"/>
                  </a:cubicBezTo>
                  <a:cubicBezTo>
                    <a:pt x="21" y="871"/>
                    <a:pt x="18" y="861"/>
                    <a:pt x="17" y="851"/>
                  </a:cubicBezTo>
                  <a:cubicBezTo>
                    <a:pt x="14" y="820"/>
                    <a:pt x="12" y="789"/>
                    <a:pt x="9" y="759"/>
                  </a:cubicBezTo>
                  <a:cubicBezTo>
                    <a:pt x="6" y="723"/>
                    <a:pt x="3" y="687"/>
                    <a:pt x="0" y="651"/>
                  </a:cubicBezTo>
                  <a:cubicBezTo>
                    <a:pt x="0" y="642"/>
                    <a:pt x="1" y="633"/>
                    <a:pt x="5" y="625"/>
                  </a:cubicBezTo>
                  <a:cubicBezTo>
                    <a:pt x="46" y="534"/>
                    <a:pt x="86" y="443"/>
                    <a:pt x="129" y="353"/>
                  </a:cubicBezTo>
                  <a:cubicBezTo>
                    <a:pt x="146" y="318"/>
                    <a:pt x="149" y="284"/>
                    <a:pt x="145" y="248"/>
                  </a:cubicBezTo>
                  <a:cubicBezTo>
                    <a:pt x="135" y="163"/>
                    <a:pt x="96" y="95"/>
                    <a:pt x="29" y="44"/>
                  </a:cubicBezTo>
                  <a:cubicBezTo>
                    <a:pt x="15" y="33"/>
                    <a:pt x="13" y="21"/>
                    <a:pt x="21" y="11"/>
                  </a:cubicBezTo>
                  <a:cubicBezTo>
                    <a:pt x="29" y="1"/>
                    <a:pt x="42" y="0"/>
                    <a:pt x="55" y="10"/>
                  </a:cubicBezTo>
                  <a:cubicBezTo>
                    <a:pt x="143" y="78"/>
                    <a:pt x="186" y="168"/>
                    <a:pt x="189" y="27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500">
                <a:solidFill>
                  <a:schemeClr val="tx2"/>
                </a:solidFill>
              </a:endParaRPr>
            </a:p>
          </p:txBody>
        </p:sp>
        <p:sp>
          <p:nvSpPr>
            <p:cNvPr id="127" name="Freeform 76">
              <a:extLst>
                <a:ext uri="{FF2B5EF4-FFF2-40B4-BE49-F238E27FC236}">
                  <a16:creationId xmlns:a16="http://schemas.microsoft.com/office/drawing/2014/main" xmlns="" id="{DC267050-A162-4DEB-A109-84C570D93FF8}"/>
                </a:ext>
              </a:extLst>
            </p:cNvPr>
            <p:cNvSpPr>
              <a:spLocks/>
            </p:cNvSpPr>
            <p:nvPr/>
          </p:nvSpPr>
          <p:spPr bwMode="auto">
            <a:xfrm>
              <a:off x="2830" y="1519"/>
              <a:ext cx="219" cy="80"/>
            </a:xfrm>
            <a:custGeom>
              <a:avLst/>
              <a:gdLst>
                <a:gd name="T0" fmla="*/ 50 w 124"/>
                <a:gd name="T1" fmla="*/ 42 h 45"/>
                <a:gd name="T2" fmla="*/ 22 w 124"/>
                <a:gd name="T3" fmla="*/ 42 h 45"/>
                <a:gd name="T4" fmla="*/ 1 w 124"/>
                <a:gd name="T5" fmla="*/ 23 h 45"/>
                <a:gd name="T6" fmla="*/ 19 w 124"/>
                <a:gd name="T7" fmla="*/ 1 h 45"/>
                <a:gd name="T8" fmla="*/ 107 w 124"/>
                <a:gd name="T9" fmla="*/ 3 h 45"/>
                <a:gd name="T10" fmla="*/ 122 w 124"/>
                <a:gd name="T11" fmla="*/ 27 h 45"/>
                <a:gd name="T12" fmla="*/ 101 w 124"/>
                <a:gd name="T13" fmla="*/ 44 h 45"/>
                <a:gd name="T14" fmla="*/ 50 w 124"/>
                <a:gd name="T15" fmla="*/ 41 h 45"/>
                <a:gd name="T16" fmla="*/ 50 w 124"/>
                <a:gd name="T17" fmla="*/ 42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4" h="45">
                  <a:moveTo>
                    <a:pt x="50" y="42"/>
                  </a:moveTo>
                  <a:cubicBezTo>
                    <a:pt x="41" y="42"/>
                    <a:pt x="31" y="42"/>
                    <a:pt x="22" y="42"/>
                  </a:cubicBezTo>
                  <a:cubicBezTo>
                    <a:pt x="10" y="42"/>
                    <a:pt x="2" y="34"/>
                    <a:pt x="1" y="23"/>
                  </a:cubicBezTo>
                  <a:cubicBezTo>
                    <a:pt x="0" y="12"/>
                    <a:pt x="7" y="1"/>
                    <a:pt x="19" y="1"/>
                  </a:cubicBezTo>
                  <a:cubicBezTo>
                    <a:pt x="48" y="0"/>
                    <a:pt x="78" y="1"/>
                    <a:pt x="107" y="3"/>
                  </a:cubicBezTo>
                  <a:cubicBezTo>
                    <a:pt x="119" y="4"/>
                    <a:pt x="124" y="15"/>
                    <a:pt x="122" y="27"/>
                  </a:cubicBezTo>
                  <a:cubicBezTo>
                    <a:pt x="120" y="39"/>
                    <a:pt x="113" y="45"/>
                    <a:pt x="101" y="44"/>
                  </a:cubicBezTo>
                  <a:cubicBezTo>
                    <a:pt x="84" y="43"/>
                    <a:pt x="67" y="42"/>
                    <a:pt x="50" y="41"/>
                  </a:cubicBezTo>
                  <a:cubicBezTo>
                    <a:pt x="50" y="41"/>
                    <a:pt x="50" y="42"/>
                    <a:pt x="50" y="4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500">
                <a:solidFill>
                  <a:schemeClr val="tx2"/>
                </a:solidFill>
              </a:endParaRPr>
            </a:p>
          </p:txBody>
        </p:sp>
      </p:grpSp>
      <p:grpSp>
        <p:nvGrpSpPr>
          <p:cNvPr id="114" name="Group 131">
            <a:extLst>
              <a:ext uri="{FF2B5EF4-FFF2-40B4-BE49-F238E27FC236}">
                <a16:creationId xmlns:a16="http://schemas.microsoft.com/office/drawing/2014/main" xmlns="" id="{BED5D1E2-8B80-41C7-BB93-8433C4B28C6B}"/>
              </a:ext>
            </a:extLst>
          </p:cNvPr>
          <p:cNvGrpSpPr>
            <a:grpSpLocks noChangeAspect="1"/>
          </p:cNvGrpSpPr>
          <p:nvPr/>
        </p:nvGrpSpPr>
        <p:grpSpPr bwMode="auto">
          <a:xfrm flipH="1">
            <a:off x="7157882" y="4841203"/>
            <a:ext cx="481167" cy="469033"/>
            <a:chOff x="1375" y="467"/>
            <a:chExt cx="2892" cy="3300"/>
          </a:xfrm>
          <a:solidFill>
            <a:schemeClr val="accent4"/>
          </a:solidFill>
        </p:grpSpPr>
        <p:sp>
          <p:nvSpPr>
            <p:cNvPr id="115" name="Freeform 132">
              <a:extLst>
                <a:ext uri="{FF2B5EF4-FFF2-40B4-BE49-F238E27FC236}">
                  <a16:creationId xmlns:a16="http://schemas.microsoft.com/office/drawing/2014/main" xmlns="" id="{24E9C592-C71D-4C94-BA90-40F847FACA5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75" y="467"/>
              <a:ext cx="2892" cy="3300"/>
            </a:xfrm>
            <a:custGeom>
              <a:avLst/>
              <a:gdLst>
                <a:gd name="T0" fmla="*/ 953 w 1637"/>
                <a:gd name="T1" fmla="*/ 0 h 1868"/>
                <a:gd name="T2" fmla="*/ 1013 w 1637"/>
                <a:gd name="T3" fmla="*/ 7 h 1868"/>
                <a:gd name="T4" fmla="*/ 1398 w 1637"/>
                <a:gd name="T5" fmla="*/ 157 h 1868"/>
                <a:gd name="T6" fmla="*/ 1628 w 1637"/>
                <a:gd name="T7" fmla="*/ 603 h 1868"/>
                <a:gd name="T8" fmla="*/ 1546 w 1637"/>
                <a:gd name="T9" fmla="*/ 1115 h 1868"/>
                <a:gd name="T10" fmla="*/ 1485 w 1637"/>
                <a:gd name="T11" fmla="*/ 1260 h 1868"/>
                <a:gd name="T12" fmla="*/ 1465 w 1637"/>
                <a:gd name="T13" fmla="*/ 1380 h 1868"/>
                <a:gd name="T14" fmla="*/ 1502 w 1637"/>
                <a:gd name="T15" fmla="*/ 1735 h 1868"/>
                <a:gd name="T16" fmla="*/ 1507 w 1637"/>
                <a:gd name="T17" fmla="*/ 1777 h 1868"/>
                <a:gd name="T18" fmla="*/ 1444 w 1637"/>
                <a:gd name="T19" fmla="*/ 1865 h 1868"/>
                <a:gd name="T20" fmla="*/ 1434 w 1637"/>
                <a:gd name="T21" fmla="*/ 1868 h 1868"/>
                <a:gd name="T22" fmla="*/ 634 w 1637"/>
                <a:gd name="T23" fmla="*/ 1868 h 1868"/>
                <a:gd name="T24" fmla="*/ 583 w 1637"/>
                <a:gd name="T25" fmla="*/ 1840 h 1868"/>
                <a:gd name="T26" fmla="*/ 561 w 1637"/>
                <a:gd name="T27" fmla="*/ 1770 h 1868"/>
                <a:gd name="T28" fmla="*/ 575 w 1637"/>
                <a:gd name="T29" fmla="*/ 1665 h 1868"/>
                <a:gd name="T30" fmla="*/ 576 w 1637"/>
                <a:gd name="T31" fmla="*/ 1653 h 1868"/>
                <a:gd name="T32" fmla="*/ 566 w 1637"/>
                <a:gd name="T33" fmla="*/ 1653 h 1868"/>
                <a:gd name="T34" fmla="*/ 338 w 1637"/>
                <a:gd name="T35" fmla="*/ 1678 h 1868"/>
                <a:gd name="T36" fmla="*/ 174 w 1637"/>
                <a:gd name="T37" fmla="*/ 1534 h 1868"/>
                <a:gd name="T38" fmla="*/ 174 w 1637"/>
                <a:gd name="T39" fmla="*/ 1329 h 1868"/>
                <a:gd name="T40" fmla="*/ 173 w 1637"/>
                <a:gd name="T41" fmla="*/ 1271 h 1868"/>
                <a:gd name="T42" fmla="*/ 145 w 1637"/>
                <a:gd name="T43" fmla="*/ 1240 h 1868"/>
                <a:gd name="T44" fmla="*/ 60 w 1637"/>
                <a:gd name="T45" fmla="*/ 1230 h 1868"/>
                <a:gd name="T46" fmla="*/ 12 w 1637"/>
                <a:gd name="T47" fmla="*/ 1153 h 1868"/>
                <a:gd name="T48" fmla="*/ 104 w 1637"/>
                <a:gd name="T49" fmla="*/ 875 h 1868"/>
                <a:gd name="T50" fmla="*/ 165 w 1637"/>
                <a:gd name="T51" fmla="*/ 694 h 1868"/>
                <a:gd name="T52" fmla="*/ 176 w 1637"/>
                <a:gd name="T53" fmla="*/ 614 h 1868"/>
                <a:gd name="T54" fmla="*/ 404 w 1637"/>
                <a:gd name="T55" fmla="*/ 171 h 1868"/>
                <a:gd name="T56" fmla="*/ 741 w 1637"/>
                <a:gd name="T57" fmla="*/ 15 h 1868"/>
                <a:gd name="T58" fmla="*/ 845 w 1637"/>
                <a:gd name="T59" fmla="*/ 2 h 1868"/>
                <a:gd name="T60" fmla="*/ 854 w 1637"/>
                <a:gd name="T61" fmla="*/ 0 h 1868"/>
                <a:gd name="T62" fmla="*/ 953 w 1637"/>
                <a:gd name="T63" fmla="*/ 0 h 1868"/>
                <a:gd name="T64" fmla="*/ 67 w 1637"/>
                <a:gd name="T65" fmla="*/ 1172 h 1868"/>
                <a:gd name="T66" fmla="*/ 146 w 1637"/>
                <a:gd name="T67" fmla="*/ 1181 h 1868"/>
                <a:gd name="T68" fmla="*/ 232 w 1637"/>
                <a:gd name="T69" fmla="*/ 1277 h 1868"/>
                <a:gd name="T70" fmla="*/ 232 w 1637"/>
                <a:gd name="T71" fmla="*/ 1532 h 1868"/>
                <a:gd name="T72" fmla="*/ 328 w 1637"/>
                <a:gd name="T73" fmla="*/ 1621 h 1868"/>
                <a:gd name="T74" fmla="*/ 481 w 1637"/>
                <a:gd name="T75" fmla="*/ 1604 h 1868"/>
                <a:gd name="T76" fmla="*/ 723 w 1637"/>
                <a:gd name="T77" fmla="*/ 1577 h 1868"/>
                <a:gd name="T78" fmla="*/ 755 w 1637"/>
                <a:gd name="T79" fmla="*/ 1599 h 1868"/>
                <a:gd name="T80" fmla="*/ 730 w 1637"/>
                <a:gd name="T81" fmla="*/ 1635 h 1868"/>
                <a:gd name="T82" fmla="*/ 646 w 1637"/>
                <a:gd name="T83" fmla="*/ 1644 h 1868"/>
                <a:gd name="T84" fmla="*/ 635 w 1637"/>
                <a:gd name="T85" fmla="*/ 1655 h 1868"/>
                <a:gd name="T86" fmla="*/ 620 w 1637"/>
                <a:gd name="T87" fmla="*/ 1771 h 1868"/>
                <a:gd name="T88" fmla="*/ 655 w 1637"/>
                <a:gd name="T89" fmla="*/ 1810 h 1868"/>
                <a:gd name="T90" fmla="*/ 1410 w 1637"/>
                <a:gd name="T91" fmla="*/ 1810 h 1868"/>
                <a:gd name="T92" fmla="*/ 1447 w 1637"/>
                <a:gd name="T93" fmla="*/ 1767 h 1868"/>
                <a:gd name="T94" fmla="*/ 1440 w 1637"/>
                <a:gd name="T95" fmla="*/ 1695 h 1868"/>
                <a:gd name="T96" fmla="*/ 1407 w 1637"/>
                <a:gd name="T97" fmla="*/ 1389 h 1868"/>
                <a:gd name="T98" fmla="*/ 1428 w 1637"/>
                <a:gd name="T99" fmla="*/ 1245 h 1868"/>
                <a:gd name="T100" fmla="*/ 1561 w 1637"/>
                <a:gd name="T101" fmla="*/ 806 h 1868"/>
                <a:gd name="T102" fmla="*/ 1566 w 1637"/>
                <a:gd name="T103" fmla="*/ 563 h 1868"/>
                <a:gd name="T104" fmla="*/ 1453 w 1637"/>
                <a:gd name="T105" fmla="*/ 290 h 1868"/>
                <a:gd name="T106" fmla="*/ 1163 w 1637"/>
                <a:gd name="T107" fmla="*/ 96 h 1868"/>
                <a:gd name="T108" fmla="*/ 804 w 1637"/>
                <a:gd name="T109" fmla="*/ 65 h 1868"/>
                <a:gd name="T110" fmla="*/ 452 w 1637"/>
                <a:gd name="T111" fmla="*/ 207 h 1868"/>
                <a:gd name="T112" fmla="*/ 234 w 1637"/>
                <a:gd name="T113" fmla="*/ 619 h 1868"/>
                <a:gd name="T114" fmla="*/ 223 w 1637"/>
                <a:gd name="T115" fmla="*/ 703 h 1868"/>
                <a:gd name="T116" fmla="*/ 86 w 1637"/>
                <a:gd name="T117" fmla="*/ 1114 h 1868"/>
                <a:gd name="T118" fmla="*/ 67 w 1637"/>
                <a:gd name="T119" fmla="*/ 1172 h 18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37" h="1868">
                  <a:moveTo>
                    <a:pt x="953" y="0"/>
                  </a:moveTo>
                  <a:cubicBezTo>
                    <a:pt x="973" y="2"/>
                    <a:pt x="993" y="4"/>
                    <a:pt x="1013" y="7"/>
                  </a:cubicBezTo>
                  <a:cubicBezTo>
                    <a:pt x="1154" y="23"/>
                    <a:pt x="1285" y="67"/>
                    <a:pt x="1398" y="157"/>
                  </a:cubicBezTo>
                  <a:cubicBezTo>
                    <a:pt x="1542" y="270"/>
                    <a:pt x="1619" y="420"/>
                    <a:pt x="1628" y="603"/>
                  </a:cubicBezTo>
                  <a:cubicBezTo>
                    <a:pt x="1637" y="779"/>
                    <a:pt x="1605" y="949"/>
                    <a:pt x="1546" y="1115"/>
                  </a:cubicBezTo>
                  <a:cubicBezTo>
                    <a:pt x="1528" y="1164"/>
                    <a:pt x="1507" y="1212"/>
                    <a:pt x="1485" y="1260"/>
                  </a:cubicBezTo>
                  <a:cubicBezTo>
                    <a:pt x="1468" y="1298"/>
                    <a:pt x="1461" y="1338"/>
                    <a:pt x="1465" y="1380"/>
                  </a:cubicBezTo>
                  <a:cubicBezTo>
                    <a:pt x="1478" y="1498"/>
                    <a:pt x="1490" y="1616"/>
                    <a:pt x="1502" y="1735"/>
                  </a:cubicBezTo>
                  <a:cubicBezTo>
                    <a:pt x="1504" y="1749"/>
                    <a:pt x="1506" y="1763"/>
                    <a:pt x="1507" y="1777"/>
                  </a:cubicBezTo>
                  <a:cubicBezTo>
                    <a:pt x="1509" y="1817"/>
                    <a:pt x="1483" y="1853"/>
                    <a:pt x="1444" y="1865"/>
                  </a:cubicBezTo>
                  <a:cubicBezTo>
                    <a:pt x="1441" y="1866"/>
                    <a:pt x="1437" y="1867"/>
                    <a:pt x="1434" y="1868"/>
                  </a:cubicBezTo>
                  <a:cubicBezTo>
                    <a:pt x="1167" y="1868"/>
                    <a:pt x="901" y="1868"/>
                    <a:pt x="634" y="1868"/>
                  </a:cubicBezTo>
                  <a:cubicBezTo>
                    <a:pt x="615" y="1863"/>
                    <a:pt x="597" y="1855"/>
                    <a:pt x="583" y="1840"/>
                  </a:cubicBezTo>
                  <a:cubicBezTo>
                    <a:pt x="566" y="1820"/>
                    <a:pt x="558" y="1797"/>
                    <a:pt x="561" y="1770"/>
                  </a:cubicBezTo>
                  <a:cubicBezTo>
                    <a:pt x="566" y="1735"/>
                    <a:pt x="570" y="1700"/>
                    <a:pt x="575" y="1665"/>
                  </a:cubicBezTo>
                  <a:cubicBezTo>
                    <a:pt x="575" y="1662"/>
                    <a:pt x="576" y="1658"/>
                    <a:pt x="576" y="1653"/>
                  </a:cubicBezTo>
                  <a:cubicBezTo>
                    <a:pt x="573" y="1653"/>
                    <a:pt x="569" y="1653"/>
                    <a:pt x="566" y="1653"/>
                  </a:cubicBezTo>
                  <a:cubicBezTo>
                    <a:pt x="490" y="1661"/>
                    <a:pt x="414" y="1670"/>
                    <a:pt x="338" y="1678"/>
                  </a:cubicBezTo>
                  <a:cubicBezTo>
                    <a:pt x="249" y="1688"/>
                    <a:pt x="175" y="1623"/>
                    <a:pt x="174" y="1534"/>
                  </a:cubicBezTo>
                  <a:cubicBezTo>
                    <a:pt x="173" y="1466"/>
                    <a:pt x="174" y="1397"/>
                    <a:pt x="174" y="1329"/>
                  </a:cubicBezTo>
                  <a:cubicBezTo>
                    <a:pt x="174" y="1310"/>
                    <a:pt x="174" y="1291"/>
                    <a:pt x="173" y="1271"/>
                  </a:cubicBezTo>
                  <a:cubicBezTo>
                    <a:pt x="173" y="1253"/>
                    <a:pt x="163" y="1242"/>
                    <a:pt x="145" y="1240"/>
                  </a:cubicBezTo>
                  <a:cubicBezTo>
                    <a:pt x="116" y="1236"/>
                    <a:pt x="88" y="1234"/>
                    <a:pt x="60" y="1230"/>
                  </a:cubicBezTo>
                  <a:cubicBezTo>
                    <a:pt x="22" y="1224"/>
                    <a:pt x="0" y="1189"/>
                    <a:pt x="12" y="1153"/>
                  </a:cubicBezTo>
                  <a:cubicBezTo>
                    <a:pt x="43" y="1060"/>
                    <a:pt x="74" y="967"/>
                    <a:pt x="104" y="875"/>
                  </a:cubicBezTo>
                  <a:cubicBezTo>
                    <a:pt x="124" y="814"/>
                    <a:pt x="144" y="754"/>
                    <a:pt x="165" y="694"/>
                  </a:cubicBezTo>
                  <a:cubicBezTo>
                    <a:pt x="174" y="667"/>
                    <a:pt x="173" y="641"/>
                    <a:pt x="176" y="614"/>
                  </a:cubicBezTo>
                  <a:cubicBezTo>
                    <a:pt x="192" y="435"/>
                    <a:pt x="266" y="287"/>
                    <a:pt x="404" y="171"/>
                  </a:cubicBezTo>
                  <a:cubicBezTo>
                    <a:pt x="502" y="88"/>
                    <a:pt x="615" y="38"/>
                    <a:pt x="741" y="15"/>
                  </a:cubicBezTo>
                  <a:cubicBezTo>
                    <a:pt x="775" y="9"/>
                    <a:pt x="810" y="6"/>
                    <a:pt x="845" y="2"/>
                  </a:cubicBezTo>
                  <a:cubicBezTo>
                    <a:pt x="848" y="2"/>
                    <a:pt x="851" y="1"/>
                    <a:pt x="854" y="0"/>
                  </a:cubicBezTo>
                  <a:cubicBezTo>
                    <a:pt x="887" y="0"/>
                    <a:pt x="920" y="0"/>
                    <a:pt x="953" y="0"/>
                  </a:cubicBezTo>
                  <a:close/>
                  <a:moveTo>
                    <a:pt x="67" y="1172"/>
                  </a:moveTo>
                  <a:cubicBezTo>
                    <a:pt x="95" y="1175"/>
                    <a:pt x="120" y="1178"/>
                    <a:pt x="146" y="1181"/>
                  </a:cubicBezTo>
                  <a:cubicBezTo>
                    <a:pt x="201" y="1187"/>
                    <a:pt x="232" y="1221"/>
                    <a:pt x="232" y="1277"/>
                  </a:cubicBezTo>
                  <a:cubicBezTo>
                    <a:pt x="232" y="1362"/>
                    <a:pt x="232" y="1447"/>
                    <a:pt x="232" y="1532"/>
                  </a:cubicBezTo>
                  <a:cubicBezTo>
                    <a:pt x="232" y="1585"/>
                    <a:pt x="276" y="1626"/>
                    <a:pt x="328" y="1621"/>
                  </a:cubicBezTo>
                  <a:cubicBezTo>
                    <a:pt x="379" y="1615"/>
                    <a:pt x="430" y="1609"/>
                    <a:pt x="481" y="1604"/>
                  </a:cubicBezTo>
                  <a:cubicBezTo>
                    <a:pt x="561" y="1595"/>
                    <a:pt x="642" y="1586"/>
                    <a:pt x="723" y="1577"/>
                  </a:cubicBezTo>
                  <a:cubicBezTo>
                    <a:pt x="738" y="1575"/>
                    <a:pt x="752" y="1584"/>
                    <a:pt x="755" y="1599"/>
                  </a:cubicBezTo>
                  <a:cubicBezTo>
                    <a:pt x="760" y="1616"/>
                    <a:pt x="748" y="1632"/>
                    <a:pt x="730" y="1635"/>
                  </a:cubicBezTo>
                  <a:cubicBezTo>
                    <a:pt x="702" y="1638"/>
                    <a:pt x="674" y="1641"/>
                    <a:pt x="646" y="1644"/>
                  </a:cubicBezTo>
                  <a:cubicBezTo>
                    <a:pt x="638" y="1645"/>
                    <a:pt x="636" y="1648"/>
                    <a:pt x="635" y="1655"/>
                  </a:cubicBezTo>
                  <a:cubicBezTo>
                    <a:pt x="630" y="1694"/>
                    <a:pt x="625" y="1732"/>
                    <a:pt x="620" y="1771"/>
                  </a:cubicBezTo>
                  <a:cubicBezTo>
                    <a:pt x="616" y="1798"/>
                    <a:pt x="628" y="1810"/>
                    <a:pt x="655" y="1810"/>
                  </a:cubicBezTo>
                  <a:cubicBezTo>
                    <a:pt x="906" y="1810"/>
                    <a:pt x="1158" y="1810"/>
                    <a:pt x="1410" y="1810"/>
                  </a:cubicBezTo>
                  <a:cubicBezTo>
                    <a:pt x="1441" y="1810"/>
                    <a:pt x="1451" y="1798"/>
                    <a:pt x="1447" y="1767"/>
                  </a:cubicBezTo>
                  <a:cubicBezTo>
                    <a:pt x="1445" y="1743"/>
                    <a:pt x="1442" y="1719"/>
                    <a:pt x="1440" y="1695"/>
                  </a:cubicBezTo>
                  <a:cubicBezTo>
                    <a:pt x="1429" y="1593"/>
                    <a:pt x="1418" y="1491"/>
                    <a:pt x="1407" y="1389"/>
                  </a:cubicBezTo>
                  <a:cubicBezTo>
                    <a:pt x="1402" y="1339"/>
                    <a:pt x="1406" y="1290"/>
                    <a:pt x="1428" y="1245"/>
                  </a:cubicBezTo>
                  <a:cubicBezTo>
                    <a:pt x="1496" y="1106"/>
                    <a:pt x="1542" y="960"/>
                    <a:pt x="1561" y="806"/>
                  </a:cubicBezTo>
                  <a:cubicBezTo>
                    <a:pt x="1571" y="725"/>
                    <a:pt x="1577" y="644"/>
                    <a:pt x="1566" y="563"/>
                  </a:cubicBezTo>
                  <a:cubicBezTo>
                    <a:pt x="1553" y="462"/>
                    <a:pt x="1516" y="370"/>
                    <a:pt x="1453" y="290"/>
                  </a:cubicBezTo>
                  <a:cubicBezTo>
                    <a:pt x="1377" y="194"/>
                    <a:pt x="1278" y="132"/>
                    <a:pt x="1163" y="96"/>
                  </a:cubicBezTo>
                  <a:cubicBezTo>
                    <a:pt x="1045" y="60"/>
                    <a:pt x="926" y="51"/>
                    <a:pt x="804" y="65"/>
                  </a:cubicBezTo>
                  <a:cubicBezTo>
                    <a:pt x="674" y="80"/>
                    <a:pt x="555" y="124"/>
                    <a:pt x="452" y="207"/>
                  </a:cubicBezTo>
                  <a:cubicBezTo>
                    <a:pt x="321" y="313"/>
                    <a:pt x="249" y="451"/>
                    <a:pt x="234" y="619"/>
                  </a:cubicBezTo>
                  <a:cubicBezTo>
                    <a:pt x="232" y="647"/>
                    <a:pt x="233" y="675"/>
                    <a:pt x="223" y="703"/>
                  </a:cubicBezTo>
                  <a:cubicBezTo>
                    <a:pt x="177" y="840"/>
                    <a:pt x="132" y="977"/>
                    <a:pt x="86" y="1114"/>
                  </a:cubicBezTo>
                  <a:cubicBezTo>
                    <a:pt x="80" y="1133"/>
                    <a:pt x="74" y="1152"/>
                    <a:pt x="67" y="11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500"/>
            </a:p>
          </p:txBody>
        </p:sp>
        <p:sp>
          <p:nvSpPr>
            <p:cNvPr id="116" name="Freeform 133">
              <a:extLst>
                <a:ext uri="{FF2B5EF4-FFF2-40B4-BE49-F238E27FC236}">
                  <a16:creationId xmlns:a16="http://schemas.microsoft.com/office/drawing/2014/main" xmlns="" id="{466390AB-54AD-4D34-BE26-0879AD756DC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72" y="1062"/>
              <a:ext cx="1369" cy="2004"/>
            </a:xfrm>
            <a:custGeom>
              <a:avLst/>
              <a:gdLst>
                <a:gd name="T0" fmla="*/ 190 w 775"/>
                <a:gd name="T1" fmla="*/ 893 h 1134"/>
                <a:gd name="T2" fmla="*/ 137 w 775"/>
                <a:gd name="T3" fmla="*/ 722 h 1134"/>
                <a:gd name="T4" fmla="*/ 61 w 775"/>
                <a:gd name="T5" fmla="*/ 607 h 1134"/>
                <a:gd name="T6" fmla="*/ 48 w 775"/>
                <a:gd name="T7" fmla="*/ 296 h 1134"/>
                <a:gd name="T8" fmla="*/ 627 w 775"/>
                <a:gd name="T9" fmla="*/ 155 h 1134"/>
                <a:gd name="T10" fmla="*/ 770 w 775"/>
                <a:gd name="T11" fmla="*/ 469 h 1134"/>
                <a:gd name="T12" fmla="*/ 715 w 775"/>
                <a:gd name="T13" fmla="*/ 626 h 1134"/>
                <a:gd name="T14" fmla="*/ 652 w 775"/>
                <a:gd name="T15" fmla="*/ 718 h 1134"/>
                <a:gd name="T16" fmla="*/ 630 w 775"/>
                <a:gd name="T17" fmla="*/ 753 h 1134"/>
                <a:gd name="T18" fmla="*/ 597 w 775"/>
                <a:gd name="T19" fmla="*/ 875 h 1134"/>
                <a:gd name="T20" fmla="*/ 590 w 775"/>
                <a:gd name="T21" fmla="*/ 973 h 1134"/>
                <a:gd name="T22" fmla="*/ 370 w 775"/>
                <a:gd name="T23" fmla="*/ 1121 h 1134"/>
                <a:gd name="T24" fmla="*/ 190 w 775"/>
                <a:gd name="T25" fmla="*/ 919 h 1134"/>
                <a:gd name="T26" fmla="*/ 190 w 775"/>
                <a:gd name="T27" fmla="*/ 893 h 1134"/>
                <a:gd name="T28" fmla="*/ 394 w 775"/>
                <a:gd name="T29" fmla="*/ 831 h 1134"/>
                <a:gd name="T30" fmla="*/ 525 w 775"/>
                <a:gd name="T31" fmla="*/ 831 h 1134"/>
                <a:gd name="T32" fmla="*/ 544 w 775"/>
                <a:gd name="T33" fmla="*/ 816 h 1134"/>
                <a:gd name="T34" fmla="*/ 602 w 775"/>
                <a:gd name="T35" fmla="*/ 687 h 1134"/>
                <a:gd name="T36" fmla="*/ 671 w 775"/>
                <a:gd name="T37" fmla="*/ 585 h 1134"/>
                <a:gd name="T38" fmla="*/ 709 w 775"/>
                <a:gd name="T39" fmla="*/ 401 h 1134"/>
                <a:gd name="T40" fmla="*/ 431 w 775"/>
                <a:gd name="T41" fmla="*/ 133 h 1134"/>
                <a:gd name="T42" fmla="*/ 96 w 775"/>
                <a:gd name="T43" fmla="*/ 332 h 1134"/>
                <a:gd name="T44" fmla="*/ 112 w 775"/>
                <a:gd name="T45" fmla="*/ 581 h 1134"/>
                <a:gd name="T46" fmla="*/ 185 w 775"/>
                <a:gd name="T47" fmla="*/ 689 h 1134"/>
                <a:gd name="T48" fmla="*/ 245 w 775"/>
                <a:gd name="T49" fmla="*/ 823 h 1134"/>
                <a:gd name="T50" fmla="*/ 256 w 775"/>
                <a:gd name="T51" fmla="*/ 831 h 1134"/>
                <a:gd name="T52" fmla="*/ 394 w 775"/>
                <a:gd name="T53" fmla="*/ 831 h 1134"/>
                <a:gd name="T54" fmla="*/ 249 w 775"/>
                <a:gd name="T55" fmla="*/ 890 h 1134"/>
                <a:gd name="T56" fmla="*/ 321 w 775"/>
                <a:gd name="T57" fmla="*/ 1044 h 1134"/>
                <a:gd name="T58" fmla="*/ 479 w 775"/>
                <a:gd name="T59" fmla="*/ 1036 h 1134"/>
                <a:gd name="T60" fmla="*/ 538 w 775"/>
                <a:gd name="T61" fmla="*/ 890 h 1134"/>
                <a:gd name="T62" fmla="*/ 249 w 775"/>
                <a:gd name="T63" fmla="*/ 890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75" h="1134">
                  <a:moveTo>
                    <a:pt x="190" y="893"/>
                  </a:moveTo>
                  <a:cubicBezTo>
                    <a:pt x="197" y="829"/>
                    <a:pt x="173" y="774"/>
                    <a:pt x="137" y="722"/>
                  </a:cubicBezTo>
                  <a:cubicBezTo>
                    <a:pt x="111" y="684"/>
                    <a:pt x="84" y="647"/>
                    <a:pt x="61" y="607"/>
                  </a:cubicBezTo>
                  <a:cubicBezTo>
                    <a:pt x="0" y="506"/>
                    <a:pt x="2" y="401"/>
                    <a:pt x="48" y="296"/>
                  </a:cubicBezTo>
                  <a:cubicBezTo>
                    <a:pt x="149" y="70"/>
                    <a:pt x="434" y="0"/>
                    <a:pt x="627" y="155"/>
                  </a:cubicBezTo>
                  <a:cubicBezTo>
                    <a:pt x="727" y="235"/>
                    <a:pt x="775" y="341"/>
                    <a:pt x="770" y="469"/>
                  </a:cubicBezTo>
                  <a:cubicBezTo>
                    <a:pt x="768" y="527"/>
                    <a:pt x="745" y="578"/>
                    <a:pt x="715" y="626"/>
                  </a:cubicBezTo>
                  <a:cubicBezTo>
                    <a:pt x="695" y="657"/>
                    <a:pt x="673" y="687"/>
                    <a:pt x="652" y="718"/>
                  </a:cubicBezTo>
                  <a:cubicBezTo>
                    <a:pt x="644" y="730"/>
                    <a:pt x="637" y="742"/>
                    <a:pt x="630" y="753"/>
                  </a:cubicBezTo>
                  <a:cubicBezTo>
                    <a:pt x="608" y="791"/>
                    <a:pt x="596" y="831"/>
                    <a:pt x="597" y="875"/>
                  </a:cubicBezTo>
                  <a:cubicBezTo>
                    <a:pt x="599" y="908"/>
                    <a:pt x="599" y="940"/>
                    <a:pt x="590" y="973"/>
                  </a:cubicBezTo>
                  <a:cubicBezTo>
                    <a:pt x="563" y="1070"/>
                    <a:pt x="468" y="1134"/>
                    <a:pt x="370" y="1121"/>
                  </a:cubicBezTo>
                  <a:cubicBezTo>
                    <a:pt x="266" y="1107"/>
                    <a:pt x="191" y="1023"/>
                    <a:pt x="190" y="919"/>
                  </a:cubicBezTo>
                  <a:cubicBezTo>
                    <a:pt x="190" y="911"/>
                    <a:pt x="190" y="902"/>
                    <a:pt x="190" y="893"/>
                  </a:cubicBezTo>
                  <a:close/>
                  <a:moveTo>
                    <a:pt x="394" y="831"/>
                  </a:moveTo>
                  <a:cubicBezTo>
                    <a:pt x="438" y="831"/>
                    <a:pt x="481" y="831"/>
                    <a:pt x="525" y="831"/>
                  </a:cubicBezTo>
                  <a:cubicBezTo>
                    <a:pt x="540" y="831"/>
                    <a:pt x="541" y="831"/>
                    <a:pt x="544" y="816"/>
                  </a:cubicBezTo>
                  <a:cubicBezTo>
                    <a:pt x="553" y="768"/>
                    <a:pt x="576" y="727"/>
                    <a:pt x="602" y="687"/>
                  </a:cubicBezTo>
                  <a:cubicBezTo>
                    <a:pt x="625" y="653"/>
                    <a:pt x="649" y="620"/>
                    <a:pt x="671" y="585"/>
                  </a:cubicBezTo>
                  <a:cubicBezTo>
                    <a:pt x="707" y="529"/>
                    <a:pt x="719" y="468"/>
                    <a:pt x="709" y="401"/>
                  </a:cubicBezTo>
                  <a:cubicBezTo>
                    <a:pt x="687" y="261"/>
                    <a:pt x="571" y="148"/>
                    <a:pt x="431" y="133"/>
                  </a:cubicBezTo>
                  <a:cubicBezTo>
                    <a:pt x="285" y="117"/>
                    <a:pt x="149" y="198"/>
                    <a:pt x="96" y="332"/>
                  </a:cubicBezTo>
                  <a:cubicBezTo>
                    <a:pt x="63" y="417"/>
                    <a:pt x="63" y="501"/>
                    <a:pt x="112" y="581"/>
                  </a:cubicBezTo>
                  <a:cubicBezTo>
                    <a:pt x="135" y="618"/>
                    <a:pt x="161" y="653"/>
                    <a:pt x="185" y="689"/>
                  </a:cubicBezTo>
                  <a:cubicBezTo>
                    <a:pt x="213" y="730"/>
                    <a:pt x="237" y="773"/>
                    <a:pt x="245" y="823"/>
                  </a:cubicBezTo>
                  <a:cubicBezTo>
                    <a:pt x="246" y="831"/>
                    <a:pt x="251" y="831"/>
                    <a:pt x="256" y="831"/>
                  </a:cubicBezTo>
                  <a:cubicBezTo>
                    <a:pt x="302" y="831"/>
                    <a:pt x="348" y="831"/>
                    <a:pt x="394" y="831"/>
                  </a:cubicBezTo>
                  <a:close/>
                  <a:moveTo>
                    <a:pt x="249" y="890"/>
                  </a:moveTo>
                  <a:cubicBezTo>
                    <a:pt x="243" y="956"/>
                    <a:pt x="263" y="1010"/>
                    <a:pt x="321" y="1044"/>
                  </a:cubicBezTo>
                  <a:cubicBezTo>
                    <a:pt x="375" y="1075"/>
                    <a:pt x="429" y="1072"/>
                    <a:pt x="479" y="1036"/>
                  </a:cubicBezTo>
                  <a:cubicBezTo>
                    <a:pt x="529" y="1001"/>
                    <a:pt x="544" y="950"/>
                    <a:pt x="538" y="890"/>
                  </a:cubicBezTo>
                  <a:cubicBezTo>
                    <a:pt x="442" y="890"/>
                    <a:pt x="346" y="890"/>
                    <a:pt x="249" y="8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500"/>
            </a:p>
          </p:txBody>
        </p:sp>
        <p:sp>
          <p:nvSpPr>
            <p:cNvPr id="117" name="Freeform 134">
              <a:extLst>
                <a:ext uri="{FF2B5EF4-FFF2-40B4-BE49-F238E27FC236}">
                  <a16:creationId xmlns:a16="http://schemas.microsoft.com/office/drawing/2014/main" xmlns="" id="{F6342886-2EC6-445A-8515-1110B01956E6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6" y="759"/>
              <a:ext cx="134" cy="212"/>
            </a:xfrm>
            <a:custGeom>
              <a:avLst/>
              <a:gdLst>
                <a:gd name="T0" fmla="*/ 76 w 76"/>
                <a:gd name="T1" fmla="*/ 83 h 120"/>
                <a:gd name="T2" fmla="*/ 52 w 76"/>
                <a:gd name="T3" fmla="*/ 117 h 120"/>
                <a:gd name="T4" fmla="*/ 20 w 76"/>
                <a:gd name="T5" fmla="*/ 99 h 120"/>
                <a:gd name="T6" fmla="*/ 3 w 76"/>
                <a:gd name="T7" fmla="*/ 36 h 120"/>
                <a:gd name="T8" fmla="*/ 23 w 76"/>
                <a:gd name="T9" fmla="*/ 4 h 120"/>
                <a:gd name="T10" fmla="*/ 57 w 76"/>
                <a:gd name="T11" fmla="*/ 18 h 120"/>
                <a:gd name="T12" fmla="*/ 76 w 76"/>
                <a:gd name="T13" fmla="*/ 83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6" h="120">
                  <a:moveTo>
                    <a:pt x="76" y="83"/>
                  </a:moveTo>
                  <a:cubicBezTo>
                    <a:pt x="76" y="102"/>
                    <a:pt x="66" y="114"/>
                    <a:pt x="52" y="117"/>
                  </a:cubicBezTo>
                  <a:cubicBezTo>
                    <a:pt x="39" y="120"/>
                    <a:pt x="24" y="112"/>
                    <a:pt x="20" y="99"/>
                  </a:cubicBezTo>
                  <a:cubicBezTo>
                    <a:pt x="13" y="79"/>
                    <a:pt x="8" y="57"/>
                    <a:pt x="3" y="36"/>
                  </a:cubicBezTo>
                  <a:cubicBezTo>
                    <a:pt x="0" y="22"/>
                    <a:pt x="9" y="8"/>
                    <a:pt x="23" y="4"/>
                  </a:cubicBezTo>
                  <a:cubicBezTo>
                    <a:pt x="36" y="0"/>
                    <a:pt x="52" y="5"/>
                    <a:pt x="57" y="18"/>
                  </a:cubicBezTo>
                  <a:cubicBezTo>
                    <a:pt x="65" y="41"/>
                    <a:pt x="70" y="65"/>
                    <a:pt x="76" y="8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500"/>
            </a:p>
          </p:txBody>
        </p:sp>
        <p:sp>
          <p:nvSpPr>
            <p:cNvPr id="118" name="Freeform 135">
              <a:extLst>
                <a:ext uri="{FF2B5EF4-FFF2-40B4-BE49-F238E27FC236}">
                  <a16:creationId xmlns:a16="http://schemas.microsoft.com/office/drawing/2014/main" xmlns="" id="{85DABC5D-FA37-407B-B56C-19F954B00906}"/>
                </a:ext>
              </a:extLst>
            </p:cNvPr>
            <p:cNvSpPr>
              <a:spLocks/>
            </p:cNvSpPr>
            <p:nvPr/>
          </p:nvSpPr>
          <p:spPr bwMode="auto">
            <a:xfrm>
              <a:off x="3406" y="868"/>
              <a:ext cx="173" cy="200"/>
            </a:xfrm>
            <a:custGeom>
              <a:avLst/>
              <a:gdLst>
                <a:gd name="T0" fmla="*/ 35 w 98"/>
                <a:gd name="T1" fmla="*/ 112 h 113"/>
                <a:gd name="T2" fmla="*/ 9 w 98"/>
                <a:gd name="T3" fmla="*/ 71 h 113"/>
                <a:gd name="T4" fmla="*/ 42 w 98"/>
                <a:gd name="T5" fmla="*/ 16 h 113"/>
                <a:gd name="T6" fmla="*/ 79 w 98"/>
                <a:gd name="T7" fmla="*/ 7 h 113"/>
                <a:gd name="T8" fmla="*/ 91 w 98"/>
                <a:gd name="T9" fmla="*/ 44 h 113"/>
                <a:gd name="T10" fmla="*/ 59 w 98"/>
                <a:gd name="T11" fmla="*/ 101 h 113"/>
                <a:gd name="T12" fmla="*/ 35 w 98"/>
                <a:gd name="T13" fmla="*/ 112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8" h="113">
                  <a:moveTo>
                    <a:pt x="35" y="112"/>
                  </a:moveTo>
                  <a:cubicBezTo>
                    <a:pt x="14" y="112"/>
                    <a:pt x="0" y="90"/>
                    <a:pt x="9" y="71"/>
                  </a:cubicBezTo>
                  <a:cubicBezTo>
                    <a:pt x="19" y="52"/>
                    <a:pt x="30" y="34"/>
                    <a:pt x="42" y="16"/>
                  </a:cubicBezTo>
                  <a:cubicBezTo>
                    <a:pt x="50" y="3"/>
                    <a:pt x="66" y="0"/>
                    <a:pt x="79" y="7"/>
                  </a:cubicBezTo>
                  <a:cubicBezTo>
                    <a:pt x="92" y="15"/>
                    <a:pt x="98" y="31"/>
                    <a:pt x="91" y="44"/>
                  </a:cubicBezTo>
                  <a:cubicBezTo>
                    <a:pt x="81" y="63"/>
                    <a:pt x="70" y="82"/>
                    <a:pt x="59" y="101"/>
                  </a:cubicBezTo>
                  <a:cubicBezTo>
                    <a:pt x="54" y="109"/>
                    <a:pt x="45" y="113"/>
                    <a:pt x="35" y="1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500"/>
            </a:p>
          </p:txBody>
        </p:sp>
        <p:sp>
          <p:nvSpPr>
            <p:cNvPr id="119" name="Freeform 136">
              <a:extLst>
                <a:ext uri="{FF2B5EF4-FFF2-40B4-BE49-F238E27FC236}">
                  <a16:creationId xmlns:a16="http://schemas.microsoft.com/office/drawing/2014/main" xmlns="" id="{BC706803-9448-4760-8B8B-2BCBF3E80124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5" y="725"/>
              <a:ext cx="105" cy="207"/>
            </a:xfrm>
            <a:custGeom>
              <a:avLst/>
              <a:gdLst>
                <a:gd name="T0" fmla="*/ 59 w 59"/>
                <a:gd name="T1" fmla="*/ 59 h 117"/>
                <a:gd name="T2" fmla="*/ 59 w 59"/>
                <a:gd name="T3" fmla="*/ 89 h 117"/>
                <a:gd name="T4" fmla="*/ 30 w 59"/>
                <a:gd name="T5" fmla="*/ 117 h 117"/>
                <a:gd name="T6" fmla="*/ 1 w 59"/>
                <a:gd name="T7" fmla="*/ 90 h 117"/>
                <a:gd name="T8" fmla="*/ 1 w 59"/>
                <a:gd name="T9" fmla="*/ 27 h 117"/>
                <a:gd name="T10" fmla="*/ 30 w 59"/>
                <a:gd name="T11" fmla="*/ 0 h 117"/>
                <a:gd name="T12" fmla="*/ 59 w 59"/>
                <a:gd name="T13" fmla="*/ 29 h 117"/>
                <a:gd name="T14" fmla="*/ 59 w 59"/>
                <a:gd name="T15" fmla="*/ 59 h 117"/>
                <a:gd name="T16" fmla="*/ 59 w 59"/>
                <a:gd name="T17" fmla="*/ 59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9" h="117">
                  <a:moveTo>
                    <a:pt x="59" y="59"/>
                  </a:moveTo>
                  <a:cubicBezTo>
                    <a:pt x="59" y="69"/>
                    <a:pt x="59" y="79"/>
                    <a:pt x="59" y="89"/>
                  </a:cubicBezTo>
                  <a:cubicBezTo>
                    <a:pt x="58" y="105"/>
                    <a:pt x="46" y="117"/>
                    <a:pt x="30" y="117"/>
                  </a:cubicBezTo>
                  <a:cubicBezTo>
                    <a:pt x="15" y="117"/>
                    <a:pt x="2" y="106"/>
                    <a:pt x="1" y="90"/>
                  </a:cubicBezTo>
                  <a:cubicBezTo>
                    <a:pt x="0" y="69"/>
                    <a:pt x="0" y="48"/>
                    <a:pt x="1" y="27"/>
                  </a:cubicBezTo>
                  <a:cubicBezTo>
                    <a:pt x="1" y="12"/>
                    <a:pt x="15" y="0"/>
                    <a:pt x="30" y="0"/>
                  </a:cubicBezTo>
                  <a:cubicBezTo>
                    <a:pt x="45" y="0"/>
                    <a:pt x="58" y="13"/>
                    <a:pt x="59" y="29"/>
                  </a:cubicBezTo>
                  <a:cubicBezTo>
                    <a:pt x="59" y="39"/>
                    <a:pt x="59" y="49"/>
                    <a:pt x="59" y="59"/>
                  </a:cubicBezTo>
                  <a:cubicBezTo>
                    <a:pt x="59" y="59"/>
                    <a:pt x="59" y="59"/>
                    <a:pt x="59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500"/>
            </a:p>
          </p:txBody>
        </p:sp>
        <p:sp>
          <p:nvSpPr>
            <p:cNvPr id="120" name="Freeform 137">
              <a:extLst>
                <a:ext uri="{FF2B5EF4-FFF2-40B4-BE49-F238E27FC236}">
                  <a16:creationId xmlns:a16="http://schemas.microsoft.com/office/drawing/2014/main" xmlns="" id="{B89681EE-A3C0-4D48-A6F9-E6C3019C3867}"/>
                </a:ext>
              </a:extLst>
            </p:cNvPr>
            <p:cNvSpPr>
              <a:spLocks/>
            </p:cNvSpPr>
            <p:nvPr/>
          </p:nvSpPr>
          <p:spPr bwMode="auto">
            <a:xfrm>
              <a:off x="3170" y="759"/>
              <a:ext cx="141" cy="208"/>
            </a:xfrm>
            <a:custGeom>
              <a:avLst/>
              <a:gdLst>
                <a:gd name="T0" fmla="*/ 35 w 80"/>
                <a:gd name="T1" fmla="*/ 117 h 118"/>
                <a:gd name="T2" fmla="*/ 4 w 80"/>
                <a:gd name="T3" fmla="*/ 83 h 118"/>
                <a:gd name="T4" fmla="*/ 20 w 80"/>
                <a:gd name="T5" fmla="*/ 23 h 118"/>
                <a:gd name="T6" fmla="*/ 54 w 80"/>
                <a:gd name="T7" fmla="*/ 4 h 118"/>
                <a:gd name="T8" fmla="*/ 76 w 80"/>
                <a:gd name="T9" fmla="*/ 36 h 118"/>
                <a:gd name="T10" fmla="*/ 59 w 80"/>
                <a:gd name="T11" fmla="*/ 99 h 118"/>
                <a:gd name="T12" fmla="*/ 35 w 80"/>
                <a:gd name="T13" fmla="*/ 117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0" h="118">
                  <a:moveTo>
                    <a:pt x="35" y="117"/>
                  </a:moveTo>
                  <a:cubicBezTo>
                    <a:pt x="15" y="118"/>
                    <a:pt x="0" y="101"/>
                    <a:pt x="4" y="83"/>
                  </a:cubicBezTo>
                  <a:cubicBezTo>
                    <a:pt x="9" y="63"/>
                    <a:pt x="14" y="43"/>
                    <a:pt x="20" y="23"/>
                  </a:cubicBezTo>
                  <a:cubicBezTo>
                    <a:pt x="25" y="8"/>
                    <a:pt x="40" y="0"/>
                    <a:pt x="54" y="4"/>
                  </a:cubicBezTo>
                  <a:cubicBezTo>
                    <a:pt x="69" y="7"/>
                    <a:pt x="80" y="21"/>
                    <a:pt x="76" y="36"/>
                  </a:cubicBezTo>
                  <a:cubicBezTo>
                    <a:pt x="72" y="57"/>
                    <a:pt x="66" y="78"/>
                    <a:pt x="59" y="99"/>
                  </a:cubicBezTo>
                  <a:cubicBezTo>
                    <a:pt x="56" y="111"/>
                    <a:pt x="45" y="117"/>
                    <a:pt x="35" y="1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500"/>
            </a:p>
          </p:txBody>
        </p:sp>
        <p:sp>
          <p:nvSpPr>
            <p:cNvPr id="121" name="Freeform 138">
              <a:extLst>
                <a:ext uri="{FF2B5EF4-FFF2-40B4-BE49-F238E27FC236}">
                  <a16:creationId xmlns:a16="http://schemas.microsoft.com/office/drawing/2014/main" xmlns="" id="{09F0F84D-9120-4E40-BFDB-D951F8355A12}"/>
                </a:ext>
              </a:extLst>
            </p:cNvPr>
            <p:cNvSpPr>
              <a:spLocks/>
            </p:cNvSpPr>
            <p:nvPr/>
          </p:nvSpPr>
          <p:spPr bwMode="auto">
            <a:xfrm>
              <a:off x="2355" y="868"/>
              <a:ext cx="175" cy="198"/>
            </a:xfrm>
            <a:custGeom>
              <a:avLst/>
              <a:gdLst>
                <a:gd name="T0" fmla="*/ 63 w 99"/>
                <a:gd name="T1" fmla="*/ 112 h 112"/>
                <a:gd name="T2" fmla="*/ 39 w 99"/>
                <a:gd name="T3" fmla="*/ 99 h 112"/>
                <a:gd name="T4" fmla="*/ 8 w 99"/>
                <a:gd name="T5" fmla="*/ 46 h 112"/>
                <a:gd name="T6" fmla="*/ 19 w 99"/>
                <a:gd name="T7" fmla="*/ 7 h 112"/>
                <a:gd name="T8" fmla="*/ 58 w 99"/>
                <a:gd name="T9" fmla="*/ 17 h 112"/>
                <a:gd name="T10" fmla="*/ 88 w 99"/>
                <a:gd name="T11" fmla="*/ 69 h 112"/>
                <a:gd name="T12" fmla="*/ 63 w 99"/>
                <a:gd name="T13" fmla="*/ 112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9" h="112">
                  <a:moveTo>
                    <a:pt x="63" y="112"/>
                  </a:moveTo>
                  <a:cubicBezTo>
                    <a:pt x="52" y="112"/>
                    <a:pt x="44" y="108"/>
                    <a:pt x="39" y="99"/>
                  </a:cubicBezTo>
                  <a:cubicBezTo>
                    <a:pt x="28" y="81"/>
                    <a:pt x="18" y="64"/>
                    <a:pt x="8" y="46"/>
                  </a:cubicBezTo>
                  <a:cubicBezTo>
                    <a:pt x="0" y="32"/>
                    <a:pt x="5" y="15"/>
                    <a:pt x="19" y="7"/>
                  </a:cubicBezTo>
                  <a:cubicBezTo>
                    <a:pt x="33" y="0"/>
                    <a:pt x="49" y="3"/>
                    <a:pt x="58" y="17"/>
                  </a:cubicBezTo>
                  <a:cubicBezTo>
                    <a:pt x="69" y="34"/>
                    <a:pt x="79" y="52"/>
                    <a:pt x="88" y="69"/>
                  </a:cubicBezTo>
                  <a:cubicBezTo>
                    <a:pt x="99" y="89"/>
                    <a:pt x="85" y="112"/>
                    <a:pt x="63" y="1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500"/>
            </a:p>
          </p:txBody>
        </p:sp>
        <p:sp>
          <p:nvSpPr>
            <p:cNvPr id="122" name="Freeform 139">
              <a:extLst>
                <a:ext uri="{FF2B5EF4-FFF2-40B4-BE49-F238E27FC236}">
                  <a16:creationId xmlns:a16="http://schemas.microsoft.com/office/drawing/2014/main" xmlns="" id="{FF903EAE-14CD-49B8-B160-BDD61EE7493D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5" y="1804"/>
              <a:ext cx="311" cy="622"/>
            </a:xfrm>
            <a:custGeom>
              <a:avLst/>
              <a:gdLst>
                <a:gd name="T0" fmla="*/ 1 w 176"/>
                <a:gd name="T1" fmla="*/ 235 h 352"/>
                <a:gd name="T2" fmla="*/ 1 w 176"/>
                <a:gd name="T3" fmla="*/ 151 h 352"/>
                <a:gd name="T4" fmla="*/ 10 w 176"/>
                <a:gd name="T5" fmla="*/ 127 h 352"/>
                <a:gd name="T6" fmla="*/ 125 w 176"/>
                <a:gd name="T7" fmla="*/ 12 h 352"/>
                <a:gd name="T8" fmla="*/ 157 w 176"/>
                <a:gd name="T9" fmla="*/ 5 h 352"/>
                <a:gd name="T10" fmla="*/ 175 w 176"/>
                <a:gd name="T11" fmla="*/ 31 h 352"/>
                <a:gd name="T12" fmla="*/ 164 w 176"/>
                <a:gd name="T13" fmla="*/ 54 h 352"/>
                <a:gd name="T14" fmla="*/ 67 w 176"/>
                <a:gd name="T15" fmla="*/ 152 h 352"/>
                <a:gd name="T16" fmla="*/ 59 w 176"/>
                <a:gd name="T17" fmla="*/ 171 h 352"/>
                <a:gd name="T18" fmla="*/ 59 w 176"/>
                <a:gd name="T19" fmla="*/ 319 h 352"/>
                <a:gd name="T20" fmla="*/ 30 w 176"/>
                <a:gd name="T21" fmla="*/ 352 h 352"/>
                <a:gd name="T22" fmla="*/ 1 w 176"/>
                <a:gd name="T23" fmla="*/ 319 h 352"/>
                <a:gd name="T24" fmla="*/ 1 w 176"/>
                <a:gd name="T25" fmla="*/ 235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76" h="352">
                  <a:moveTo>
                    <a:pt x="1" y="235"/>
                  </a:moveTo>
                  <a:cubicBezTo>
                    <a:pt x="1" y="207"/>
                    <a:pt x="0" y="179"/>
                    <a:pt x="1" y="151"/>
                  </a:cubicBezTo>
                  <a:cubicBezTo>
                    <a:pt x="1" y="143"/>
                    <a:pt x="5" y="133"/>
                    <a:pt x="10" y="127"/>
                  </a:cubicBezTo>
                  <a:cubicBezTo>
                    <a:pt x="48" y="88"/>
                    <a:pt x="87" y="50"/>
                    <a:pt x="125" y="12"/>
                  </a:cubicBezTo>
                  <a:cubicBezTo>
                    <a:pt x="134" y="2"/>
                    <a:pt x="145" y="0"/>
                    <a:pt x="157" y="5"/>
                  </a:cubicBezTo>
                  <a:cubicBezTo>
                    <a:pt x="169" y="9"/>
                    <a:pt x="176" y="19"/>
                    <a:pt x="175" y="31"/>
                  </a:cubicBezTo>
                  <a:cubicBezTo>
                    <a:pt x="174" y="39"/>
                    <a:pt x="170" y="49"/>
                    <a:pt x="164" y="54"/>
                  </a:cubicBezTo>
                  <a:cubicBezTo>
                    <a:pt x="132" y="88"/>
                    <a:pt x="99" y="120"/>
                    <a:pt x="67" y="152"/>
                  </a:cubicBezTo>
                  <a:cubicBezTo>
                    <a:pt x="61" y="158"/>
                    <a:pt x="59" y="163"/>
                    <a:pt x="59" y="171"/>
                  </a:cubicBezTo>
                  <a:cubicBezTo>
                    <a:pt x="59" y="221"/>
                    <a:pt x="59" y="270"/>
                    <a:pt x="59" y="319"/>
                  </a:cubicBezTo>
                  <a:cubicBezTo>
                    <a:pt x="59" y="339"/>
                    <a:pt x="47" y="352"/>
                    <a:pt x="30" y="352"/>
                  </a:cubicBezTo>
                  <a:cubicBezTo>
                    <a:pt x="12" y="352"/>
                    <a:pt x="1" y="339"/>
                    <a:pt x="1" y="319"/>
                  </a:cubicBezTo>
                  <a:cubicBezTo>
                    <a:pt x="0" y="291"/>
                    <a:pt x="1" y="263"/>
                    <a:pt x="1" y="23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500"/>
            </a:p>
          </p:txBody>
        </p:sp>
        <p:sp>
          <p:nvSpPr>
            <p:cNvPr id="123" name="Freeform 140">
              <a:extLst>
                <a:ext uri="{FF2B5EF4-FFF2-40B4-BE49-F238E27FC236}">
                  <a16:creationId xmlns:a16="http://schemas.microsoft.com/office/drawing/2014/main" xmlns="" id="{8E35BF9B-6E2E-41FE-BF8D-1C9BBF18A66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7" y="1804"/>
              <a:ext cx="215" cy="216"/>
            </a:xfrm>
            <a:custGeom>
              <a:avLst/>
              <a:gdLst>
                <a:gd name="T0" fmla="*/ 33 w 122"/>
                <a:gd name="T1" fmla="*/ 0 h 122"/>
                <a:gd name="T2" fmla="*/ 52 w 122"/>
                <a:gd name="T3" fmla="*/ 12 h 122"/>
                <a:gd name="T4" fmla="*/ 109 w 122"/>
                <a:gd name="T5" fmla="*/ 68 h 122"/>
                <a:gd name="T6" fmla="*/ 110 w 122"/>
                <a:gd name="T7" fmla="*/ 111 h 122"/>
                <a:gd name="T8" fmla="*/ 68 w 122"/>
                <a:gd name="T9" fmla="*/ 109 h 122"/>
                <a:gd name="T10" fmla="*/ 11 w 122"/>
                <a:gd name="T11" fmla="*/ 52 h 122"/>
                <a:gd name="T12" fmla="*/ 5 w 122"/>
                <a:gd name="T13" fmla="*/ 20 h 122"/>
                <a:gd name="T14" fmla="*/ 33 w 122"/>
                <a:gd name="T15" fmla="*/ 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2" h="122">
                  <a:moveTo>
                    <a:pt x="33" y="0"/>
                  </a:moveTo>
                  <a:cubicBezTo>
                    <a:pt x="39" y="4"/>
                    <a:pt x="47" y="7"/>
                    <a:pt x="52" y="12"/>
                  </a:cubicBezTo>
                  <a:cubicBezTo>
                    <a:pt x="72" y="30"/>
                    <a:pt x="90" y="49"/>
                    <a:pt x="109" y="68"/>
                  </a:cubicBezTo>
                  <a:cubicBezTo>
                    <a:pt x="122" y="81"/>
                    <a:pt x="122" y="99"/>
                    <a:pt x="110" y="111"/>
                  </a:cubicBezTo>
                  <a:cubicBezTo>
                    <a:pt x="98" y="122"/>
                    <a:pt x="81" y="122"/>
                    <a:pt x="68" y="109"/>
                  </a:cubicBezTo>
                  <a:cubicBezTo>
                    <a:pt x="49" y="91"/>
                    <a:pt x="30" y="72"/>
                    <a:pt x="11" y="52"/>
                  </a:cubicBezTo>
                  <a:cubicBezTo>
                    <a:pt x="2" y="43"/>
                    <a:pt x="0" y="32"/>
                    <a:pt x="5" y="20"/>
                  </a:cubicBezTo>
                  <a:cubicBezTo>
                    <a:pt x="9" y="9"/>
                    <a:pt x="20" y="2"/>
                    <a:pt x="3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500"/>
            </a:p>
          </p:txBody>
        </p:sp>
      </p:grpSp>
      <p:sp>
        <p:nvSpPr>
          <p:cNvPr id="131" name="TextBox 130">
            <a:extLst>
              <a:ext uri="{FF2B5EF4-FFF2-40B4-BE49-F238E27FC236}">
                <a16:creationId xmlns:a16="http://schemas.microsoft.com/office/drawing/2014/main" xmlns="" id="{4ED33124-5DDD-4150-8E86-D9D55053D7D2}"/>
              </a:ext>
            </a:extLst>
          </p:cNvPr>
          <p:cNvSpPr txBox="1">
            <a:spLocks/>
          </p:cNvSpPr>
          <p:nvPr/>
        </p:nvSpPr>
        <p:spPr>
          <a:xfrm>
            <a:off x="315458" y="4849119"/>
            <a:ext cx="344707" cy="45320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2800" dirty="0">
                <a:solidFill>
                  <a:schemeClr val="tx2"/>
                </a:solidFill>
                <a:latin typeface="Georgia" panose="02040502050405020303" pitchFamily="18" charset="0"/>
              </a:rPr>
              <a:t>3</a:t>
            </a:r>
            <a:endParaRPr lang="en-GB" sz="2800" dirty="0">
              <a:solidFill>
                <a:schemeClr val="tx2"/>
              </a:solidFill>
              <a:latin typeface="Georgia" panose="02040502050405020303" pitchFamily="18" charset="0"/>
            </a:endParaRPr>
          </a:p>
        </p:txBody>
      </p:sp>
      <p:sp>
        <p:nvSpPr>
          <p:cNvPr id="19" name="!ObjectC-00418">
            <a:extLst>
              <a:ext uri="{FF2B5EF4-FFF2-40B4-BE49-F238E27FC236}">
                <a16:creationId xmlns:a16="http://schemas.microsoft.com/office/drawing/2014/main" xmlns="" id="{A5C069A6-74FC-45D5-BAFB-49133540CEE8}"/>
              </a:ext>
            </a:extLst>
          </p:cNvPr>
          <p:cNvSpPr txBox="1">
            <a:spLocks/>
          </p:cNvSpPr>
          <p:nvPr/>
        </p:nvSpPr>
        <p:spPr>
          <a:xfrm>
            <a:off x="1412174" y="5726987"/>
            <a:ext cx="3045995" cy="69249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GB" sz="1500" dirty="0"/>
              <a:t>One time, 3+ weeks/year of classroom training with very limited reinforcement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xmlns="" id="{30B13742-1868-488A-8B80-69C2D4CF13B5}"/>
              </a:ext>
            </a:extLst>
          </p:cNvPr>
          <p:cNvSpPr txBox="1">
            <a:spLocks/>
          </p:cNvSpPr>
          <p:nvPr/>
        </p:nvSpPr>
        <p:spPr>
          <a:xfrm>
            <a:off x="7892421" y="5649669"/>
            <a:ext cx="3736689" cy="69249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GB" sz="1500" dirty="0"/>
              <a:t>Digital micro-learning with “on the go” gamified learning modules, with adoption enabled by mobile-first approach</a:t>
            </a:r>
          </a:p>
        </p:txBody>
      </p:sp>
      <p:grpSp>
        <p:nvGrpSpPr>
          <p:cNvPr id="118804" name="Group 48">
            <a:extLst>
              <a:ext uri="{FF2B5EF4-FFF2-40B4-BE49-F238E27FC236}">
                <a16:creationId xmlns:a16="http://schemas.microsoft.com/office/drawing/2014/main" xmlns="" id="{78C6426F-418D-410A-A63F-767B2337C2E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73909" y="5877997"/>
            <a:ext cx="456561" cy="390477"/>
            <a:chOff x="1644" y="989"/>
            <a:chExt cx="2364" cy="2256"/>
          </a:xfrm>
          <a:solidFill>
            <a:schemeClr val="tx2"/>
          </a:solidFill>
        </p:grpSpPr>
        <p:sp>
          <p:nvSpPr>
            <p:cNvPr id="118806" name="Freeform 49">
              <a:extLst>
                <a:ext uri="{FF2B5EF4-FFF2-40B4-BE49-F238E27FC236}">
                  <a16:creationId xmlns:a16="http://schemas.microsoft.com/office/drawing/2014/main" xmlns="" id="{642E1E35-E362-4DB0-96FE-B8E83AF357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44" y="989"/>
              <a:ext cx="2364" cy="2256"/>
            </a:xfrm>
            <a:custGeom>
              <a:avLst/>
              <a:gdLst>
                <a:gd name="T0" fmla="*/ 957 w 1338"/>
                <a:gd name="T1" fmla="*/ 1059 h 1276"/>
                <a:gd name="T2" fmla="*/ 1121 w 1338"/>
                <a:gd name="T3" fmla="*/ 1251 h 1276"/>
                <a:gd name="T4" fmla="*/ 938 w 1338"/>
                <a:gd name="T5" fmla="*/ 1096 h 1276"/>
                <a:gd name="T6" fmla="*/ 925 w 1338"/>
                <a:gd name="T7" fmla="*/ 1100 h 1276"/>
                <a:gd name="T8" fmla="*/ 883 w 1338"/>
                <a:gd name="T9" fmla="*/ 1234 h 1276"/>
                <a:gd name="T10" fmla="*/ 872 w 1338"/>
                <a:gd name="T11" fmla="*/ 1095 h 1276"/>
                <a:gd name="T12" fmla="*/ 687 w 1338"/>
                <a:gd name="T13" fmla="*/ 1251 h 1276"/>
                <a:gd name="T14" fmla="*/ 874 w 1338"/>
                <a:gd name="T15" fmla="*/ 1035 h 1276"/>
                <a:gd name="T16" fmla="*/ 866 w 1338"/>
                <a:gd name="T17" fmla="*/ 873 h 1276"/>
                <a:gd name="T18" fmla="*/ 515 w 1338"/>
                <a:gd name="T19" fmla="*/ 755 h 1276"/>
                <a:gd name="T20" fmla="*/ 441 w 1338"/>
                <a:gd name="T21" fmla="*/ 596 h 1276"/>
                <a:gd name="T22" fmla="*/ 409 w 1338"/>
                <a:gd name="T23" fmla="*/ 1007 h 1276"/>
                <a:gd name="T24" fmla="*/ 356 w 1338"/>
                <a:gd name="T25" fmla="*/ 1211 h 1276"/>
                <a:gd name="T26" fmla="*/ 84 w 1338"/>
                <a:gd name="T27" fmla="*/ 1212 h 1276"/>
                <a:gd name="T28" fmla="*/ 27 w 1338"/>
                <a:gd name="T29" fmla="*/ 1007 h 1276"/>
                <a:gd name="T30" fmla="*/ 25 w 1338"/>
                <a:gd name="T31" fmla="*/ 484 h 1276"/>
                <a:gd name="T32" fmla="*/ 522 w 1338"/>
                <a:gd name="T33" fmla="*/ 431 h 1276"/>
                <a:gd name="T34" fmla="*/ 513 w 1338"/>
                <a:gd name="T35" fmla="*/ 173 h 1276"/>
                <a:gd name="T36" fmla="*/ 862 w 1338"/>
                <a:gd name="T37" fmla="*/ 56 h 1276"/>
                <a:gd name="T38" fmla="*/ 901 w 1338"/>
                <a:gd name="T39" fmla="*/ 0 h 1276"/>
                <a:gd name="T40" fmla="*/ 987 w 1338"/>
                <a:gd name="T41" fmla="*/ 53 h 1276"/>
                <a:gd name="T42" fmla="*/ 1293 w 1338"/>
                <a:gd name="T43" fmla="*/ 172 h 1276"/>
                <a:gd name="T44" fmla="*/ 1285 w 1338"/>
                <a:gd name="T45" fmla="*/ 740 h 1276"/>
                <a:gd name="T46" fmla="*/ 1270 w 1338"/>
                <a:gd name="T47" fmla="*/ 873 h 1276"/>
                <a:gd name="T48" fmla="*/ 198 w 1338"/>
                <a:gd name="T49" fmla="*/ 1235 h 1276"/>
                <a:gd name="T50" fmla="*/ 210 w 1338"/>
                <a:gd name="T51" fmla="*/ 979 h 1276"/>
                <a:gd name="T52" fmla="*/ 240 w 1338"/>
                <a:gd name="T53" fmla="*/ 1219 h 1276"/>
                <a:gd name="T54" fmla="*/ 284 w 1338"/>
                <a:gd name="T55" fmla="*/ 1235 h 1276"/>
                <a:gd name="T56" fmla="*/ 313 w 1338"/>
                <a:gd name="T57" fmla="*/ 801 h 1276"/>
                <a:gd name="T58" fmla="*/ 354 w 1338"/>
                <a:gd name="T59" fmla="*/ 953 h 1276"/>
                <a:gd name="T60" fmla="*/ 397 w 1338"/>
                <a:gd name="T61" fmla="*/ 947 h 1276"/>
                <a:gd name="T62" fmla="*/ 524 w 1338"/>
                <a:gd name="T63" fmla="*/ 551 h 1276"/>
                <a:gd name="T64" fmla="*/ 523 w 1338"/>
                <a:gd name="T65" fmla="*/ 470 h 1276"/>
                <a:gd name="T66" fmla="*/ 40 w 1338"/>
                <a:gd name="T67" fmla="*/ 574 h 1276"/>
                <a:gd name="T68" fmla="*/ 84 w 1338"/>
                <a:gd name="T69" fmla="*/ 965 h 1276"/>
                <a:gd name="T70" fmla="*/ 106 w 1338"/>
                <a:gd name="T71" fmla="*/ 778 h 1276"/>
                <a:gd name="T72" fmla="*/ 124 w 1338"/>
                <a:gd name="T73" fmla="*/ 1210 h 1276"/>
                <a:gd name="T74" fmla="*/ 564 w 1338"/>
                <a:gd name="T75" fmla="*/ 177 h 1276"/>
                <a:gd name="T76" fmla="*/ 570 w 1338"/>
                <a:gd name="T77" fmla="*/ 442 h 1276"/>
                <a:gd name="T78" fmla="*/ 563 w 1338"/>
                <a:gd name="T79" fmla="*/ 742 h 1276"/>
                <a:gd name="T80" fmla="*/ 1244 w 1338"/>
                <a:gd name="T81" fmla="*/ 177 h 1276"/>
                <a:gd name="T82" fmla="*/ 905 w 1338"/>
                <a:gd name="T83" fmla="*/ 791 h 1276"/>
                <a:gd name="T84" fmla="*/ 517 w 1338"/>
                <a:gd name="T85" fmla="*/ 810 h 1276"/>
                <a:gd name="T86" fmla="*/ 1263 w 1338"/>
                <a:gd name="T87" fmla="*/ 833 h 1276"/>
                <a:gd name="T88" fmla="*/ 1277 w 1338"/>
                <a:gd name="T89" fmla="*/ 793 h 1276"/>
                <a:gd name="T90" fmla="*/ 904 w 1338"/>
                <a:gd name="T91" fmla="*/ 137 h 1276"/>
                <a:gd name="T92" fmla="*/ 1291 w 1338"/>
                <a:gd name="T93" fmla="*/ 119 h 1276"/>
                <a:gd name="T94" fmla="*/ 547 w 1338"/>
                <a:gd name="T95" fmla="*/ 96 h 1276"/>
                <a:gd name="T96" fmla="*/ 533 w 1338"/>
                <a:gd name="T97" fmla="*/ 137 h 1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338" h="1276">
                  <a:moveTo>
                    <a:pt x="925" y="873"/>
                  </a:moveTo>
                  <a:cubicBezTo>
                    <a:pt x="925" y="910"/>
                    <a:pt x="927" y="944"/>
                    <a:pt x="924" y="978"/>
                  </a:cubicBezTo>
                  <a:cubicBezTo>
                    <a:pt x="921" y="1012"/>
                    <a:pt x="932" y="1036"/>
                    <a:pt x="957" y="1059"/>
                  </a:cubicBezTo>
                  <a:cubicBezTo>
                    <a:pt x="1011" y="1110"/>
                    <a:pt x="1062" y="1163"/>
                    <a:pt x="1115" y="1216"/>
                  </a:cubicBezTo>
                  <a:cubicBezTo>
                    <a:pt x="1118" y="1219"/>
                    <a:pt x="1121" y="1222"/>
                    <a:pt x="1124" y="1225"/>
                  </a:cubicBezTo>
                  <a:cubicBezTo>
                    <a:pt x="1129" y="1234"/>
                    <a:pt x="1129" y="1243"/>
                    <a:pt x="1121" y="1251"/>
                  </a:cubicBezTo>
                  <a:cubicBezTo>
                    <a:pt x="1114" y="1259"/>
                    <a:pt x="1104" y="1259"/>
                    <a:pt x="1095" y="1253"/>
                  </a:cubicBezTo>
                  <a:cubicBezTo>
                    <a:pt x="1092" y="1251"/>
                    <a:pt x="1089" y="1248"/>
                    <a:pt x="1086" y="1245"/>
                  </a:cubicBezTo>
                  <a:cubicBezTo>
                    <a:pt x="1037" y="1195"/>
                    <a:pt x="987" y="1146"/>
                    <a:pt x="938" y="1096"/>
                  </a:cubicBezTo>
                  <a:cubicBezTo>
                    <a:pt x="935" y="1093"/>
                    <a:pt x="932" y="1089"/>
                    <a:pt x="929" y="1085"/>
                  </a:cubicBezTo>
                  <a:cubicBezTo>
                    <a:pt x="928" y="1085"/>
                    <a:pt x="926" y="1086"/>
                    <a:pt x="925" y="1086"/>
                  </a:cubicBezTo>
                  <a:cubicBezTo>
                    <a:pt x="925" y="1091"/>
                    <a:pt x="925" y="1095"/>
                    <a:pt x="925" y="1100"/>
                  </a:cubicBezTo>
                  <a:cubicBezTo>
                    <a:pt x="925" y="1144"/>
                    <a:pt x="925" y="1188"/>
                    <a:pt x="925" y="1232"/>
                  </a:cubicBezTo>
                  <a:cubicBezTo>
                    <a:pt x="925" y="1248"/>
                    <a:pt x="919" y="1256"/>
                    <a:pt x="907" y="1257"/>
                  </a:cubicBezTo>
                  <a:cubicBezTo>
                    <a:pt x="892" y="1258"/>
                    <a:pt x="884" y="1250"/>
                    <a:pt x="883" y="1234"/>
                  </a:cubicBezTo>
                  <a:cubicBezTo>
                    <a:pt x="883" y="1192"/>
                    <a:pt x="883" y="1151"/>
                    <a:pt x="883" y="1110"/>
                  </a:cubicBezTo>
                  <a:cubicBezTo>
                    <a:pt x="883" y="1102"/>
                    <a:pt x="883" y="1095"/>
                    <a:pt x="883" y="1084"/>
                  </a:cubicBezTo>
                  <a:cubicBezTo>
                    <a:pt x="878" y="1089"/>
                    <a:pt x="875" y="1092"/>
                    <a:pt x="872" y="1095"/>
                  </a:cubicBezTo>
                  <a:cubicBezTo>
                    <a:pt x="822" y="1145"/>
                    <a:pt x="772" y="1195"/>
                    <a:pt x="722" y="1244"/>
                  </a:cubicBezTo>
                  <a:cubicBezTo>
                    <a:pt x="719" y="1247"/>
                    <a:pt x="717" y="1250"/>
                    <a:pt x="713" y="1253"/>
                  </a:cubicBezTo>
                  <a:cubicBezTo>
                    <a:pt x="704" y="1259"/>
                    <a:pt x="695" y="1259"/>
                    <a:pt x="687" y="1251"/>
                  </a:cubicBezTo>
                  <a:cubicBezTo>
                    <a:pt x="679" y="1243"/>
                    <a:pt x="678" y="1234"/>
                    <a:pt x="685" y="1225"/>
                  </a:cubicBezTo>
                  <a:cubicBezTo>
                    <a:pt x="687" y="1221"/>
                    <a:pt x="691" y="1218"/>
                    <a:pt x="694" y="1215"/>
                  </a:cubicBezTo>
                  <a:cubicBezTo>
                    <a:pt x="754" y="1155"/>
                    <a:pt x="814" y="1095"/>
                    <a:pt x="874" y="1035"/>
                  </a:cubicBezTo>
                  <a:cubicBezTo>
                    <a:pt x="881" y="1028"/>
                    <a:pt x="884" y="1022"/>
                    <a:pt x="883" y="1013"/>
                  </a:cubicBezTo>
                  <a:cubicBezTo>
                    <a:pt x="883" y="967"/>
                    <a:pt x="883" y="921"/>
                    <a:pt x="883" y="873"/>
                  </a:cubicBezTo>
                  <a:cubicBezTo>
                    <a:pt x="877" y="873"/>
                    <a:pt x="871" y="873"/>
                    <a:pt x="866" y="873"/>
                  </a:cubicBezTo>
                  <a:cubicBezTo>
                    <a:pt x="757" y="873"/>
                    <a:pt x="649" y="874"/>
                    <a:pt x="541" y="873"/>
                  </a:cubicBezTo>
                  <a:cubicBezTo>
                    <a:pt x="507" y="873"/>
                    <a:pt x="482" y="854"/>
                    <a:pt x="476" y="824"/>
                  </a:cubicBezTo>
                  <a:cubicBezTo>
                    <a:pt x="471" y="795"/>
                    <a:pt x="486" y="769"/>
                    <a:pt x="515" y="755"/>
                  </a:cubicBezTo>
                  <a:cubicBezTo>
                    <a:pt x="518" y="753"/>
                    <a:pt x="522" y="749"/>
                    <a:pt x="522" y="746"/>
                  </a:cubicBezTo>
                  <a:cubicBezTo>
                    <a:pt x="523" y="696"/>
                    <a:pt x="523" y="647"/>
                    <a:pt x="523" y="596"/>
                  </a:cubicBezTo>
                  <a:cubicBezTo>
                    <a:pt x="495" y="596"/>
                    <a:pt x="469" y="596"/>
                    <a:pt x="441" y="596"/>
                  </a:cubicBezTo>
                  <a:cubicBezTo>
                    <a:pt x="441" y="601"/>
                    <a:pt x="441" y="606"/>
                    <a:pt x="441" y="611"/>
                  </a:cubicBezTo>
                  <a:cubicBezTo>
                    <a:pt x="441" y="732"/>
                    <a:pt x="441" y="854"/>
                    <a:pt x="441" y="976"/>
                  </a:cubicBezTo>
                  <a:cubicBezTo>
                    <a:pt x="441" y="1003"/>
                    <a:pt x="436" y="1007"/>
                    <a:pt x="409" y="1007"/>
                  </a:cubicBezTo>
                  <a:cubicBezTo>
                    <a:pt x="392" y="1007"/>
                    <a:pt x="375" y="1007"/>
                    <a:pt x="356" y="1007"/>
                  </a:cubicBezTo>
                  <a:cubicBezTo>
                    <a:pt x="356" y="1036"/>
                    <a:pt x="356" y="1063"/>
                    <a:pt x="356" y="1090"/>
                  </a:cubicBezTo>
                  <a:cubicBezTo>
                    <a:pt x="356" y="1130"/>
                    <a:pt x="357" y="1171"/>
                    <a:pt x="356" y="1211"/>
                  </a:cubicBezTo>
                  <a:cubicBezTo>
                    <a:pt x="356" y="1251"/>
                    <a:pt x="332" y="1275"/>
                    <a:pt x="291" y="1276"/>
                  </a:cubicBezTo>
                  <a:cubicBezTo>
                    <a:pt x="243" y="1276"/>
                    <a:pt x="195" y="1276"/>
                    <a:pt x="147" y="1275"/>
                  </a:cubicBezTo>
                  <a:cubicBezTo>
                    <a:pt x="108" y="1275"/>
                    <a:pt x="84" y="1251"/>
                    <a:pt x="84" y="1212"/>
                  </a:cubicBezTo>
                  <a:cubicBezTo>
                    <a:pt x="84" y="1149"/>
                    <a:pt x="84" y="1085"/>
                    <a:pt x="84" y="1022"/>
                  </a:cubicBezTo>
                  <a:cubicBezTo>
                    <a:pt x="84" y="1018"/>
                    <a:pt x="84" y="1013"/>
                    <a:pt x="84" y="1007"/>
                  </a:cubicBezTo>
                  <a:cubicBezTo>
                    <a:pt x="64" y="1007"/>
                    <a:pt x="46" y="1007"/>
                    <a:pt x="27" y="1007"/>
                  </a:cubicBezTo>
                  <a:cubicBezTo>
                    <a:pt x="5" y="1007"/>
                    <a:pt x="0" y="1002"/>
                    <a:pt x="0" y="980"/>
                  </a:cubicBezTo>
                  <a:cubicBezTo>
                    <a:pt x="0" y="843"/>
                    <a:pt x="0" y="707"/>
                    <a:pt x="0" y="570"/>
                  </a:cubicBezTo>
                  <a:cubicBezTo>
                    <a:pt x="0" y="539"/>
                    <a:pt x="8" y="510"/>
                    <a:pt x="25" y="484"/>
                  </a:cubicBezTo>
                  <a:cubicBezTo>
                    <a:pt x="51" y="448"/>
                    <a:pt x="86" y="430"/>
                    <a:pt x="131" y="430"/>
                  </a:cubicBezTo>
                  <a:cubicBezTo>
                    <a:pt x="257" y="431"/>
                    <a:pt x="382" y="431"/>
                    <a:pt x="508" y="431"/>
                  </a:cubicBezTo>
                  <a:cubicBezTo>
                    <a:pt x="512" y="431"/>
                    <a:pt x="517" y="431"/>
                    <a:pt x="522" y="431"/>
                  </a:cubicBezTo>
                  <a:cubicBezTo>
                    <a:pt x="522" y="426"/>
                    <a:pt x="523" y="423"/>
                    <a:pt x="523" y="419"/>
                  </a:cubicBezTo>
                  <a:cubicBezTo>
                    <a:pt x="523" y="342"/>
                    <a:pt x="522" y="265"/>
                    <a:pt x="523" y="188"/>
                  </a:cubicBezTo>
                  <a:cubicBezTo>
                    <a:pt x="523" y="179"/>
                    <a:pt x="520" y="176"/>
                    <a:pt x="513" y="173"/>
                  </a:cubicBezTo>
                  <a:cubicBezTo>
                    <a:pt x="485" y="161"/>
                    <a:pt x="471" y="133"/>
                    <a:pt x="476" y="105"/>
                  </a:cubicBezTo>
                  <a:cubicBezTo>
                    <a:pt x="482" y="76"/>
                    <a:pt x="507" y="56"/>
                    <a:pt x="537" y="56"/>
                  </a:cubicBezTo>
                  <a:cubicBezTo>
                    <a:pt x="645" y="55"/>
                    <a:pt x="754" y="56"/>
                    <a:pt x="862" y="56"/>
                  </a:cubicBezTo>
                  <a:cubicBezTo>
                    <a:pt x="880" y="56"/>
                    <a:pt x="880" y="56"/>
                    <a:pt x="880" y="37"/>
                  </a:cubicBezTo>
                  <a:cubicBezTo>
                    <a:pt x="880" y="32"/>
                    <a:pt x="879" y="26"/>
                    <a:pt x="880" y="20"/>
                  </a:cubicBezTo>
                  <a:cubicBezTo>
                    <a:pt x="881" y="7"/>
                    <a:pt x="888" y="0"/>
                    <a:pt x="901" y="0"/>
                  </a:cubicBezTo>
                  <a:cubicBezTo>
                    <a:pt x="913" y="1"/>
                    <a:pt x="920" y="7"/>
                    <a:pt x="920" y="20"/>
                  </a:cubicBezTo>
                  <a:cubicBezTo>
                    <a:pt x="920" y="31"/>
                    <a:pt x="920" y="41"/>
                    <a:pt x="920" y="53"/>
                  </a:cubicBezTo>
                  <a:cubicBezTo>
                    <a:pt x="944" y="53"/>
                    <a:pt x="965" y="53"/>
                    <a:pt x="987" y="53"/>
                  </a:cubicBezTo>
                  <a:cubicBezTo>
                    <a:pt x="1080" y="53"/>
                    <a:pt x="1173" y="53"/>
                    <a:pt x="1266" y="53"/>
                  </a:cubicBezTo>
                  <a:cubicBezTo>
                    <a:pt x="1300" y="53"/>
                    <a:pt x="1324" y="72"/>
                    <a:pt x="1331" y="102"/>
                  </a:cubicBezTo>
                  <a:cubicBezTo>
                    <a:pt x="1338" y="131"/>
                    <a:pt x="1323" y="159"/>
                    <a:pt x="1293" y="172"/>
                  </a:cubicBezTo>
                  <a:cubicBezTo>
                    <a:pt x="1284" y="175"/>
                    <a:pt x="1285" y="180"/>
                    <a:pt x="1285" y="186"/>
                  </a:cubicBezTo>
                  <a:cubicBezTo>
                    <a:pt x="1285" y="328"/>
                    <a:pt x="1285" y="469"/>
                    <a:pt x="1285" y="611"/>
                  </a:cubicBezTo>
                  <a:cubicBezTo>
                    <a:pt x="1285" y="654"/>
                    <a:pt x="1286" y="697"/>
                    <a:pt x="1285" y="740"/>
                  </a:cubicBezTo>
                  <a:cubicBezTo>
                    <a:pt x="1285" y="748"/>
                    <a:pt x="1286" y="753"/>
                    <a:pt x="1295" y="756"/>
                  </a:cubicBezTo>
                  <a:cubicBezTo>
                    <a:pt x="1322" y="767"/>
                    <a:pt x="1337" y="796"/>
                    <a:pt x="1332" y="823"/>
                  </a:cubicBezTo>
                  <a:cubicBezTo>
                    <a:pt x="1326" y="853"/>
                    <a:pt x="1301" y="873"/>
                    <a:pt x="1270" y="873"/>
                  </a:cubicBezTo>
                  <a:cubicBezTo>
                    <a:pt x="1163" y="874"/>
                    <a:pt x="1055" y="873"/>
                    <a:pt x="948" y="873"/>
                  </a:cubicBezTo>
                  <a:cubicBezTo>
                    <a:pt x="941" y="873"/>
                    <a:pt x="934" y="873"/>
                    <a:pt x="925" y="873"/>
                  </a:cubicBezTo>
                  <a:close/>
                  <a:moveTo>
                    <a:pt x="198" y="1235"/>
                  </a:moveTo>
                  <a:cubicBezTo>
                    <a:pt x="198" y="1194"/>
                    <a:pt x="198" y="1155"/>
                    <a:pt x="198" y="1117"/>
                  </a:cubicBezTo>
                  <a:cubicBezTo>
                    <a:pt x="198" y="1078"/>
                    <a:pt x="198" y="1038"/>
                    <a:pt x="199" y="999"/>
                  </a:cubicBezTo>
                  <a:cubicBezTo>
                    <a:pt x="199" y="992"/>
                    <a:pt x="204" y="983"/>
                    <a:pt x="210" y="979"/>
                  </a:cubicBezTo>
                  <a:cubicBezTo>
                    <a:pt x="215" y="976"/>
                    <a:pt x="227" y="977"/>
                    <a:pt x="231" y="981"/>
                  </a:cubicBezTo>
                  <a:cubicBezTo>
                    <a:pt x="237" y="986"/>
                    <a:pt x="239" y="996"/>
                    <a:pt x="239" y="1003"/>
                  </a:cubicBezTo>
                  <a:cubicBezTo>
                    <a:pt x="240" y="1075"/>
                    <a:pt x="240" y="1147"/>
                    <a:pt x="240" y="1219"/>
                  </a:cubicBezTo>
                  <a:cubicBezTo>
                    <a:pt x="240" y="1224"/>
                    <a:pt x="240" y="1229"/>
                    <a:pt x="240" y="1234"/>
                  </a:cubicBezTo>
                  <a:cubicBezTo>
                    <a:pt x="243" y="1234"/>
                    <a:pt x="244" y="1235"/>
                    <a:pt x="244" y="1235"/>
                  </a:cubicBezTo>
                  <a:cubicBezTo>
                    <a:pt x="258" y="1235"/>
                    <a:pt x="271" y="1235"/>
                    <a:pt x="284" y="1235"/>
                  </a:cubicBezTo>
                  <a:cubicBezTo>
                    <a:pt x="309" y="1235"/>
                    <a:pt x="313" y="1230"/>
                    <a:pt x="313" y="1205"/>
                  </a:cubicBezTo>
                  <a:cubicBezTo>
                    <a:pt x="313" y="1111"/>
                    <a:pt x="313" y="1017"/>
                    <a:pt x="313" y="922"/>
                  </a:cubicBezTo>
                  <a:cubicBezTo>
                    <a:pt x="313" y="882"/>
                    <a:pt x="313" y="841"/>
                    <a:pt x="313" y="801"/>
                  </a:cubicBezTo>
                  <a:cubicBezTo>
                    <a:pt x="314" y="786"/>
                    <a:pt x="319" y="779"/>
                    <a:pt x="331" y="778"/>
                  </a:cubicBezTo>
                  <a:cubicBezTo>
                    <a:pt x="346" y="776"/>
                    <a:pt x="354" y="785"/>
                    <a:pt x="354" y="801"/>
                  </a:cubicBezTo>
                  <a:cubicBezTo>
                    <a:pt x="354" y="852"/>
                    <a:pt x="354" y="903"/>
                    <a:pt x="354" y="953"/>
                  </a:cubicBezTo>
                  <a:cubicBezTo>
                    <a:pt x="354" y="957"/>
                    <a:pt x="355" y="961"/>
                    <a:pt x="355" y="965"/>
                  </a:cubicBezTo>
                  <a:cubicBezTo>
                    <a:pt x="369" y="965"/>
                    <a:pt x="383" y="965"/>
                    <a:pt x="397" y="965"/>
                  </a:cubicBezTo>
                  <a:cubicBezTo>
                    <a:pt x="397" y="958"/>
                    <a:pt x="397" y="953"/>
                    <a:pt x="397" y="947"/>
                  </a:cubicBezTo>
                  <a:cubicBezTo>
                    <a:pt x="397" y="827"/>
                    <a:pt x="397" y="707"/>
                    <a:pt x="397" y="586"/>
                  </a:cubicBezTo>
                  <a:cubicBezTo>
                    <a:pt x="397" y="558"/>
                    <a:pt x="404" y="551"/>
                    <a:pt x="432" y="552"/>
                  </a:cubicBezTo>
                  <a:cubicBezTo>
                    <a:pt x="463" y="552"/>
                    <a:pt x="493" y="552"/>
                    <a:pt x="524" y="551"/>
                  </a:cubicBezTo>
                  <a:cubicBezTo>
                    <a:pt x="534" y="551"/>
                    <a:pt x="546" y="547"/>
                    <a:pt x="555" y="541"/>
                  </a:cubicBezTo>
                  <a:cubicBezTo>
                    <a:pt x="569" y="532"/>
                    <a:pt x="573" y="512"/>
                    <a:pt x="567" y="497"/>
                  </a:cubicBezTo>
                  <a:cubicBezTo>
                    <a:pt x="561" y="479"/>
                    <a:pt x="546" y="470"/>
                    <a:pt x="523" y="470"/>
                  </a:cubicBezTo>
                  <a:cubicBezTo>
                    <a:pt x="391" y="469"/>
                    <a:pt x="260" y="470"/>
                    <a:pt x="128" y="469"/>
                  </a:cubicBezTo>
                  <a:cubicBezTo>
                    <a:pt x="95" y="469"/>
                    <a:pt x="72" y="485"/>
                    <a:pt x="55" y="512"/>
                  </a:cubicBezTo>
                  <a:cubicBezTo>
                    <a:pt x="44" y="531"/>
                    <a:pt x="40" y="552"/>
                    <a:pt x="40" y="574"/>
                  </a:cubicBezTo>
                  <a:cubicBezTo>
                    <a:pt x="40" y="700"/>
                    <a:pt x="40" y="825"/>
                    <a:pt x="40" y="951"/>
                  </a:cubicBezTo>
                  <a:cubicBezTo>
                    <a:pt x="40" y="956"/>
                    <a:pt x="40" y="960"/>
                    <a:pt x="40" y="965"/>
                  </a:cubicBezTo>
                  <a:cubicBezTo>
                    <a:pt x="56" y="965"/>
                    <a:pt x="69" y="965"/>
                    <a:pt x="84" y="965"/>
                  </a:cubicBezTo>
                  <a:cubicBezTo>
                    <a:pt x="84" y="954"/>
                    <a:pt x="84" y="943"/>
                    <a:pt x="84" y="933"/>
                  </a:cubicBezTo>
                  <a:cubicBezTo>
                    <a:pt x="84" y="889"/>
                    <a:pt x="84" y="845"/>
                    <a:pt x="84" y="801"/>
                  </a:cubicBezTo>
                  <a:cubicBezTo>
                    <a:pt x="84" y="784"/>
                    <a:pt x="91" y="777"/>
                    <a:pt x="106" y="778"/>
                  </a:cubicBezTo>
                  <a:cubicBezTo>
                    <a:pt x="118" y="778"/>
                    <a:pt x="124" y="786"/>
                    <a:pt x="124" y="802"/>
                  </a:cubicBezTo>
                  <a:cubicBezTo>
                    <a:pt x="124" y="880"/>
                    <a:pt x="124" y="958"/>
                    <a:pt x="124" y="1037"/>
                  </a:cubicBezTo>
                  <a:cubicBezTo>
                    <a:pt x="124" y="1095"/>
                    <a:pt x="124" y="1152"/>
                    <a:pt x="124" y="1210"/>
                  </a:cubicBezTo>
                  <a:cubicBezTo>
                    <a:pt x="124" y="1226"/>
                    <a:pt x="130" y="1234"/>
                    <a:pt x="142" y="1234"/>
                  </a:cubicBezTo>
                  <a:cubicBezTo>
                    <a:pt x="160" y="1235"/>
                    <a:pt x="178" y="1235"/>
                    <a:pt x="198" y="1235"/>
                  </a:cubicBezTo>
                  <a:close/>
                  <a:moveTo>
                    <a:pt x="564" y="177"/>
                  </a:moveTo>
                  <a:cubicBezTo>
                    <a:pt x="564" y="179"/>
                    <a:pt x="563" y="180"/>
                    <a:pt x="563" y="181"/>
                  </a:cubicBezTo>
                  <a:cubicBezTo>
                    <a:pt x="563" y="264"/>
                    <a:pt x="563" y="348"/>
                    <a:pt x="564" y="431"/>
                  </a:cubicBezTo>
                  <a:cubicBezTo>
                    <a:pt x="564" y="435"/>
                    <a:pt x="567" y="440"/>
                    <a:pt x="570" y="442"/>
                  </a:cubicBezTo>
                  <a:cubicBezTo>
                    <a:pt x="624" y="477"/>
                    <a:pt x="625" y="547"/>
                    <a:pt x="572" y="582"/>
                  </a:cubicBezTo>
                  <a:cubicBezTo>
                    <a:pt x="567" y="585"/>
                    <a:pt x="564" y="592"/>
                    <a:pt x="564" y="597"/>
                  </a:cubicBezTo>
                  <a:cubicBezTo>
                    <a:pt x="563" y="645"/>
                    <a:pt x="563" y="694"/>
                    <a:pt x="563" y="742"/>
                  </a:cubicBezTo>
                  <a:cubicBezTo>
                    <a:pt x="563" y="745"/>
                    <a:pt x="564" y="747"/>
                    <a:pt x="564" y="750"/>
                  </a:cubicBezTo>
                  <a:cubicBezTo>
                    <a:pt x="791" y="750"/>
                    <a:pt x="1018" y="750"/>
                    <a:pt x="1244" y="750"/>
                  </a:cubicBezTo>
                  <a:cubicBezTo>
                    <a:pt x="1244" y="559"/>
                    <a:pt x="1244" y="368"/>
                    <a:pt x="1244" y="177"/>
                  </a:cubicBezTo>
                  <a:cubicBezTo>
                    <a:pt x="1017" y="177"/>
                    <a:pt x="791" y="177"/>
                    <a:pt x="564" y="177"/>
                  </a:cubicBezTo>
                  <a:close/>
                  <a:moveTo>
                    <a:pt x="905" y="792"/>
                  </a:moveTo>
                  <a:cubicBezTo>
                    <a:pt x="905" y="791"/>
                    <a:pt x="905" y="791"/>
                    <a:pt x="905" y="791"/>
                  </a:cubicBezTo>
                  <a:cubicBezTo>
                    <a:pt x="786" y="791"/>
                    <a:pt x="667" y="791"/>
                    <a:pt x="547" y="791"/>
                  </a:cubicBezTo>
                  <a:cubicBezTo>
                    <a:pt x="543" y="791"/>
                    <a:pt x="538" y="791"/>
                    <a:pt x="533" y="792"/>
                  </a:cubicBezTo>
                  <a:cubicBezTo>
                    <a:pt x="523" y="794"/>
                    <a:pt x="517" y="800"/>
                    <a:pt x="517" y="810"/>
                  </a:cubicBezTo>
                  <a:cubicBezTo>
                    <a:pt x="516" y="821"/>
                    <a:pt x="521" y="828"/>
                    <a:pt x="531" y="831"/>
                  </a:cubicBezTo>
                  <a:cubicBezTo>
                    <a:pt x="535" y="833"/>
                    <a:pt x="539" y="833"/>
                    <a:pt x="544" y="833"/>
                  </a:cubicBezTo>
                  <a:cubicBezTo>
                    <a:pt x="783" y="833"/>
                    <a:pt x="1023" y="833"/>
                    <a:pt x="1263" y="833"/>
                  </a:cubicBezTo>
                  <a:cubicBezTo>
                    <a:pt x="1267" y="833"/>
                    <a:pt x="1271" y="833"/>
                    <a:pt x="1274" y="832"/>
                  </a:cubicBezTo>
                  <a:cubicBezTo>
                    <a:pt x="1285" y="831"/>
                    <a:pt x="1291" y="824"/>
                    <a:pt x="1291" y="814"/>
                  </a:cubicBezTo>
                  <a:cubicBezTo>
                    <a:pt x="1292" y="803"/>
                    <a:pt x="1287" y="796"/>
                    <a:pt x="1277" y="793"/>
                  </a:cubicBezTo>
                  <a:cubicBezTo>
                    <a:pt x="1272" y="791"/>
                    <a:pt x="1267" y="792"/>
                    <a:pt x="1262" y="792"/>
                  </a:cubicBezTo>
                  <a:cubicBezTo>
                    <a:pt x="1143" y="791"/>
                    <a:pt x="1024" y="792"/>
                    <a:pt x="905" y="792"/>
                  </a:cubicBezTo>
                  <a:close/>
                  <a:moveTo>
                    <a:pt x="904" y="137"/>
                  </a:moveTo>
                  <a:cubicBezTo>
                    <a:pt x="1020" y="137"/>
                    <a:pt x="1137" y="137"/>
                    <a:pt x="1253" y="137"/>
                  </a:cubicBezTo>
                  <a:cubicBezTo>
                    <a:pt x="1260" y="137"/>
                    <a:pt x="1267" y="138"/>
                    <a:pt x="1274" y="137"/>
                  </a:cubicBezTo>
                  <a:cubicBezTo>
                    <a:pt x="1284" y="136"/>
                    <a:pt x="1291" y="129"/>
                    <a:pt x="1291" y="119"/>
                  </a:cubicBezTo>
                  <a:cubicBezTo>
                    <a:pt x="1292" y="108"/>
                    <a:pt x="1287" y="101"/>
                    <a:pt x="1277" y="98"/>
                  </a:cubicBezTo>
                  <a:cubicBezTo>
                    <a:pt x="1272" y="96"/>
                    <a:pt x="1267" y="96"/>
                    <a:pt x="1263" y="96"/>
                  </a:cubicBezTo>
                  <a:cubicBezTo>
                    <a:pt x="1024" y="96"/>
                    <a:pt x="785" y="96"/>
                    <a:pt x="547" y="96"/>
                  </a:cubicBezTo>
                  <a:cubicBezTo>
                    <a:pt x="542" y="96"/>
                    <a:pt x="538" y="96"/>
                    <a:pt x="534" y="97"/>
                  </a:cubicBezTo>
                  <a:cubicBezTo>
                    <a:pt x="523" y="99"/>
                    <a:pt x="516" y="106"/>
                    <a:pt x="517" y="117"/>
                  </a:cubicBezTo>
                  <a:cubicBezTo>
                    <a:pt x="517" y="128"/>
                    <a:pt x="523" y="134"/>
                    <a:pt x="533" y="137"/>
                  </a:cubicBezTo>
                  <a:cubicBezTo>
                    <a:pt x="537" y="138"/>
                    <a:pt x="542" y="137"/>
                    <a:pt x="546" y="137"/>
                  </a:cubicBezTo>
                  <a:cubicBezTo>
                    <a:pt x="666" y="138"/>
                    <a:pt x="785" y="137"/>
                    <a:pt x="904" y="13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500">
                <a:solidFill>
                  <a:schemeClr val="tx2"/>
                </a:solidFill>
              </a:endParaRPr>
            </a:p>
          </p:txBody>
        </p:sp>
        <p:sp>
          <p:nvSpPr>
            <p:cNvPr id="118807" name="Freeform 50">
              <a:extLst>
                <a:ext uri="{FF2B5EF4-FFF2-40B4-BE49-F238E27FC236}">
                  <a16:creationId xmlns:a16="http://schemas.microsoft.com/office/drawing/2014/main" xmlns="" id="{2CAA8252-CD02-4B98-8212-5B71EE5C53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78" y="1153"/>
              <a:ext cx="504" cy="511"/>
            </a:xfrm>
            <a:custGeom>
              <a:avLst/>
              <a:gdLst>
                <a:gd name="T0" fmla="*/ 284 w 285"/>
                <a:gd name="T1" fmla="*/ 147 h 289"/>
                <a:gd name="T2" fmla="*/ 140 w 285"/>
                <a:gd name="T3" fmla="*/ 288 h 289"/>
                <a:gd name="T4" fmla="*/ 1 w 285"/>
                <a:gd name="T5" fmla="*/ 144 h 289"/>
                <a:gd name="T6" fmla="*/ 144 w 285"/>
                <a:gd name="T7" fmla="*/ 1 h 289"/>
                <a:gd name="T8" fmla="*/ 284 w 285"/>
                <a:gd name="T9" fmla="*/ 147 h 289"/>
                <a:gd name="T10" fmla="*/ 143 w 285"/>
                <a:gd name="T11" fmla="*/ 42 h 289"/>
                <a:gd name="T12" fmla="*/ 43 w 285"/>
                <a:gd name="T13" fmla="*/ 143 h 289"/>
                <a:gd name="T14" fmla="*/ 142 w 285"/>
                <a:gd name="T15" fmla="*/ 247 h 289"/>
                <a:gd name="T16" fmla="*/ 244 w 285"/>
                <a:gd name="T17" fmla="*/ 144 h 289"/>
                <a:gd name="T18" fmla="*/ 143 w 285"/>
                <a:gd name="T19" fmla="*/ 42 h 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5" h="289">
                  <a:moveTo>
                    <a:pt x="284" y="147"/>
                  </a:moveTo>
                  <a:cubicBezTo>
                    <a:pt x="283" y="227"/>
                    <a:pt x="220" y="289"/>
                    <a:pt x="140" y="288"/>
                  </a:cubicBezTo>
                  <a:cubicBezTo>
                    <a:pt x="63" y="287"/>
                    <a:pt x="0" y="222"/>
                    <a:pt x="1" y="144"/>
                  </a:cubicBezTo>
                  <a:cubicBezTo>
                    <a:pt x="2" y="64"/>
                    <a:pt x="66" y="0"/>
                    <a:pt x="144" y="1"/>
                  </a:cubicBezTo>
                  <a:cubicBezTo>
                    <a:pt x="222" y="2"/>
                    <a:pt x="285" y="68"/>
                    <a:pt x="284" y="147"/>
                  </a:cubicBezTo>
                  <a:close/>
                  <a:moveTo>
                    <a:pt x="143" y="42"/>
                  </a:moveTo>
                  <a:cubicBezTo>
                    <a:pt x="88" y="42"/>
                    <a:pt x="43" y="87"/>
                    <a:pt x="43" y="143"/>
                  </a:cubicBezTo>
                  <a:cubicBezTo>
                    <a:pt x="42" y="202"/>
                    <a:pt x="86" y="247"/>
                    <a:pt x="142" y="247"/>
                  </a:cubicBezTo>
                  <a:cubicBezTo>
                    <a:pt x="199" y="247"/>
                    <a:pt x="244" y="202"/>
                    <a:pt x="244" y="144"/>
                  </a:cubicBezTo>
                  <a:cubicBezTo>
                    <a:pt x="243" y="88"/>
                    <a:pt x="199" y="43"/>
                    <a:pt x="143" y="4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500">
                <a:solidFill>
                  <a:schemeClr val="tx2"/>
                </a:solidFill>
              </a:endParaRPr>
            </a:p>
          </p:txBody>
        </p:sp>
        <p:sp>
          <p:nvSpPr>
            <p:cNvPr id="118808" name="Freeform 51">
              <a:extLst>
                <a:ext uri="{FF2B5EF4-FFF2-40B4-BE49-F238E27FC236}">
                  <a16:creationId xmlns:a16="http://schemas.microsoft.com/office/drawing/2014/main" xmlns="" id="{20BBDF4F-BCCA-4EF0-98ED-C84441677DC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1" y="1334"/>
              <a:ext cx="1024" cy="939"/>
            </a:xfrm>
            <a:custGeom>
              <a:avLst/>
              <a:gdLst>
                <a:gd name="T0" fmla="*/ 23 w 580"/>
                <a:gd name="T1" fmla="*/ 256 h 531"/>
                <a:gd name="T2" fmla="*/ 0 w 580"/>
                <a:gd name="T3" fmla="*/ 173 h 531"/>
                <a:gd name="T4" fmla="*/ 54 w 580"/>
                <a:gd name="T5" fmla="*/ 117 h 531"/>
                <a:gd name="T6" fmla="*/ 189 w 580"/>
                <a:gd name="T7" fmla="*/ 74 h 531"/>
                <a:gd name="T8" fmla="*/ 427 w 580"/>
                <a:gd name="T9" fmla="*/ 15 h 531"/>
                <a:gd name="T10" fmla="*/ 524 w 580"/>
                <a:gd name="T11" fmla="*/ 117 h 531"/>
                <a:gd name="T12" fmla="*/ 580 w 580"/>
                <a:gd name="T13" fmla="*/ 167 h 531"/>
                <a:gd name="T14" fmla="*/ 559 w 580"/>
                <a:gd name="T15" fmla="*/ 256 h 531"/>
                <a:gd name="T16" fmla="*/ 418 w 580"/>
                <a:gd name="T17" fmla="*/ 444 h 531"/>
                <a:gd name="T18" fmla="*/ 408 w 580"/>
                <a:gd name="T19" fmla="*/ 509 h 531"/>
                <a:gd name="T20" fmla="*/ 194 w 580"/>
                <a:gd name="T21" fmla="*/ 531 h 531"/>
                <a:gd name="T22" fmla="*/ 172 w 580"/>
                <a:gd name="T23" fmla="*/ 463 h 531"/>
                <a:gd name="T24" fmla="*/ 72 w 580"/>
                <a:gd name="T25" fmla="*/ 279 h 531"/>
                <a:gd name="T26" fmla="*/ 384 w 580"/>
                <a:gd name="T27" fmla="*/ 122 h 531"/>
                <a:gd name="T28" fmla="*/ 236 w 580"/>
                <a:gd name="T29" fmla="*/ 181 h 531"/>
                <a:gd name="T30" fmla="*/ 196 w 580"/>
                <a:gd name="T31" fmla="*/ 256 h 531"/>
                <a:gd name="T32" fmla="*/ 113 w 580"/>
                <a:gd name="T33" fmla="*/ 277 h 531"/>
                <a:gd name="T34" fmla="*/ 186 w 580"/>
                <a:gd name="T35" fmla="*/ 410 h 531"/>
                <a:gd name="T36" fmla="*/ 247 w 580"/>
                <a:gd name="T37" fmla="*/ 295 h 531"/>
                <a:gd name="T38" fmla="*/ 352 w 580"/>
                <a:gd name="T39" fmla="*/ 391 h 531"/>
                <a:gd name="T40" fmla="*/ 468 w 580"/>
                <a:gd name="T41" fmla="*/ 256 h 531"/>
                <a:gd name="T42" fmla="*/ 368 w 580"/>
                <a:gd name="T43" fmla="*/ 256 h 531"/>
                <a:gd name="T44" fmla="*/ 344 w 580"/>
                <a:gd name="T45" fmla="*/ 178 h 531"/>
                <a:gd name="T46" fmla="*/ 39 w 580"/>
                <a:gd name="T47" fmla="*/ 215 h 531"/>
                <a:gd name="T48" fmla="*/ 193 w 580"/>
                <a:gd name="T49" fmla="*/ 195 h 531"/>
                <a:gd name="T50" fmla="*/ 143 w 580"/>
                <a:gd name="T51" fmla="*/ 154 h 531"/>
                <a:gd name="T52" fmla="*/ 40 w 580"/>
                <a:gd name="T53" fmla="*/ 167 h 531"/>
                <a:gd name="T54" fmla="*/ 39 w 580"/>
                <a:gd name="T55" fmla="*/ 215 h 531"/>
                <a:gd name="T56" fmla="*/ 539 w 580"/>
                <a:gd name="T57" fmla="*/ 196 h 531"/>
                <a:gd name="T58" fmla="*/ 491 w 580"/>
                <a:gd name="T59" fmla="*/ 154 h 531"/>
                <a:gd name="T60" fmla="*/ 423 w 580"/>
                <a:gd name="T61" fmla="*/ 151 h 531"/>
                <a:gd name="T62" fmla="*/ 386 w 580"/>
                <a:gd name="T63" fmla="*/ 170 h 531"/>
                <a:gd name="T64" fmla="*/ 539 w 580"/>
                <a:gd name="T65" fmla="*/ 215 h 531"/>
                <a:gd name="T66" fmla="*/ 367 w 580"/>
                <a:gd name="T67" fmla="*/ 471 h 531"/>
                <a:gd name="T68" fmla="*/ 319 w 580"/>
                <a:gd name="T69" fmla="*/ 428 h 531"/>
                <a:gd name="T70" fmla="*/ 249 w 580"/>
                <a:gd name="T71" fmla="*/ 427 h 531"/>
                <a:gd name="T72" fmla="*/ 213 w 580"/>
                <a:gd name="T73" fmla="*/ 445 h 531"/>
                <a:gd name="T74" fmla="*/ 367 w 580"/>
                <a:gd name="T75" fmla="*/ 490 h 531"/>
                <a:gd name="T76" fmla="*/ 98 w 580"/>
                <a:gd name="T77" fmla="*/ 111 h 531"/>
                <a:gd name="T78" fmla="*/ 146 w 580"/>
                <a:gd name="T79" fmla="*/ 85 h 531"/>
                <a:gd name="T80" fmla="*/ 86 w 580"/>
                <a:gd name="T81" fmla="*/ 86 h 531"/>
                <a:gd name="T82" fmla="*/ 259 w 580"/>
                <a:gd name="T83" fmla="*/ 347 h 531"/>
                <a:gd name="T84" fmla="*/ 296 w 580"/>
                <a:gd name="T85" fmla="*/ 395 h 531"/>
                <a:gd name="T86" fmla="*/ 289 w 580"/>
                <a:gd name="T87" fmla="*/ 322 h 531"/>
                <a:gd name="T88" fmla="*/ 428 w 580"/>
                <a:gd name="T89" fmla="*/ 80 h 531"/>
                <a:gd name="T90" fmla="*/ 474 w 580"/>
                <a:gd name="T91" fmla="*/ 116 h 531"/>
                <a:gd name="T92" fmla="*/ 479 w 580"/>
                <a:gd name="T93" fmla="*/ 53 h 531"/>
                <a:gd name="T94" fmla="*/ 431 w 580"/>
                <a:gd name="T95" fmla="*/ 78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580" h="531">
                  <a:moveTo>
                    <a:pt x="73" y="256"/>
                  </a:moveTo>
                  <a:cubicBezTo>
                    <a:pt x="57" y="256"/>
                    <a:pt x="40" y="256"/>
                    <a:pt x="23" y="256"/>
                  </a:cubicBezTo>
                  <a:cubicBezTo>
                    <a:pt x="6" y="256"/>
                    <a:pt x="0" y="250"/>
                    <a:pt x="0" y="233"/>
                  </a:cubicBezTo>
                  <a:cubicBezTo>
                    <a:pt x="0" y="213"/>
                    <a:pt x="0" y="193"/>
                    <a:pt x="0" y="173"/>
                  </a:cubicBezTo>
                  <a:cubicBezTo>
                    <a:pt x="0" y="144"/>
                    <a:pt x="9" y="132"/>
                    <a:pt x="36" y="123"/>
                  </a:cubicBezTo>
                  <a:cubicBezTo>
                    <a:pt x="42" y="121"/>
                    <a:pt x="48" y="119"/>
                    <a:pt x="54" y="117"/>
                  </a:cubicBezTo>
                  <a:cubicBezTo>
                    <a:pt x="38" y="56"/>
                    <a:pt x="56" y="18"/>
                    <a:pt x="102" y="8"/>
                  </a:cubicBezTo>
                  <a:cubicBezTo>
                    <a:pt x="136" y="0"/>
                    <a:pt x="183" y="19"/>
                    <a:pt x="189" y="74"/>
                  </a:cubicBezTo>
                  <a:cubicBezTo>
                    <a:pt x="256" y="43"/>
                    <a:pt x="322" y="43"/>
                    <a:pt x="389" y="75"/>
                  </a:cubicBezTo>
                  <a:cubicBezTo>
                    <a:pt x="393" y="49"/>
                    <a:pt x="404" y="28"/>
                    <a:pt x="427" y="15"/>
                  </a:cubicBezTo>
                  <a:cubicBezTo>
                    <a:pt x="444" y="5"/>
                    <a:pt x="462" y="4"/>
                    <a:pt x="481" y="9"/>
                  </a:cubicBezTo>
                  <a:cubicBezTo>
                    <a:pt x="524" y="21"/>
                    <a:pt x="539" y="58"/>
                    <a:pt x="524" y="117"/>
                  </a:cubicBezTo>
                  <a:cubicBezTo>
                    <a:pt x="532" y="120"/>
                    <a:pt x="540" y="122"/>
                    <a:pt x="548" y="125"/>
                  </a:cubicBezTo>
                  <a:cubicBezTo>
                    <a:pt x="566" y="131"/>
                    <a:pt x="579" y="148"/>
                    <a:pt x="580" y="167"/>
                  </a:cubicBezTo>
                  <a:cubicBezTo>
                    <a:pt x="580" y="190"/>
                    <a:pt x="580" y="212"/>
                    <a:pt x="580" y="235"/>
                  </a:cubicBezTo>
                  <a:cubicBezTo>
                    <a:pt x="580" y="249"/>
                    <a:pt x="573" y="255"/>
                    <a:pt x="559" y="256"/>
                  </a:cubicBezTo>
                  <a:cubicBezTo>
                    <a:pt x="542" y="256"/>
                    <a:pt x="524" y="256"/>
                    <a:pt x="508" y="256"/>
                  </a:cubicBezTo>
                  <a:cubicBezTo>
                    <a:pt x="510" y="335"/>
                    <a:pt x="481" y="397"/>
                    <a:pt x="418" y="444"/>
                  </a:cubicBezTo>
                  <a:cubicBezTo>
                    <a:pt x="411" y="449"/>
                    <a:pt x="407" y="454"/>
                    <a:pt x="408" y="464"/>
                  </a:cubicBezTo>
                  <a:cubicBezTo>
                    <a:pt x="409" y="479"/>
                    <a:pt x="408" y="494"/>
                    <a:pt x="408" y="509"/>
                  </a:cubicBezTo>
                  <a:cubicBezTo>
                    <a:pt x="408" y="524"/>
                    <a:pt x="401" y="531"/>
                    <a:pt x="386" y="531"/>
                  </a:cubicBezTo>
                  <a:cubicBezTo>
                    <a:pt x="322" y="531"/>
                    <a:pt x="258" y="531"/>
                    <a:pt x="194" y="531"/>
                  </a:cubicBezTo>
                  <a:cubicBezTo>
                    <a:pt x="179" y="531"/>
                    <a:pt x="173" y="524"/>
                    <a:pt x="172" y="509"/>
                  </a:cubicBezTo>
                  <a:cubicBezTo>
                    <a:pt x="172" y="494"/>
                    <a:pt x="172" y="478"/>
                    <a:pt x="172" y="463"/>
                  </a:cubicBezTo>
                  <a:cubicBezTo>
                    <a:pt x="173" y="455"/>
                    <a:pt x="170" y="450"/>
                    <a:pt x="164" y="446"/>
                  </a:cubicBezTo>
                  <a:cubicBezTo>
                    <a:pt x="107" y="405"/>
                    <a:pt x="77" y="349"/>
                    <a:pt x="72" y="279"/>
                  </a:cubicBezTo>
                  <a:cubicBezTo>
                    <a:pt x="72" y="272"/>
                    <a:pt x="73" y="265"/>
                    <a:pt x="73" y="256"/>
                  </a:cubicBezTo>
                  <a:close/>
                  <a:moveTo>
                    <a:pt x="384" y="122"/>
                  </a:moveTo>
                  <a:cubicBezTo>
                    <a:pt x="330" y="81"/>
                    <a:pt x="238" y="85"/>
                    <a:pt x="195" y="122"/>
                  </a:cubicBezTo>
                  <a:cubicBezTo>
                    <a:pt x="227" y="134"/>
                    <a:pt x="236" y="147"/>
                    <a:pt x="236" y="181"/>
                  </a:cubicBezTo>
                  <a:cubicBezTo>
                    <a:pt x="236" y="193"/>
                    <a:pt x="236" y="205"/>
                    <a:pt x="236" y="217"/>
                  </a:cubicBezTo>
                  <a:cubicBezTo>
                    <a:pt x="236" y="255"/>
                    <a:pt x="235" y="256"/>
                    <a:pt x="196" y="256"/>
                  </a:cubicBezTo>
                  <a:cubicBezTo>
                    <a:pt x="168" y="256"/>
                    <a:pt x="139" y="256"/>
                    <a:pt x="111" y="256"/>
                  </a:cubicBezTo>
                  <a:cubicBezTo>
                    <a:pt x="111" y="264"/>
                    <a:pt x="112" y="270"/>
                    <a:pt x="113" y="277"/>
                  </a:cubicBezTo>
                  <a:cubicBezTo>
                    <a:pt x="116" y="328"/>
                    <a:pt x="136" y="371"/>
                    <a:pt x="175" y="405"/>
                  </a:cubicBezTo>
                  <a:cubicBezTo>
                    <a:pt x="178" y="407"/>
                    <a:pt x="184" y="411"/>
                    <a:pt x="186" y="410"/>
                  </a:cubicBezTo>
                  <a:cubicBezTo>
                    <a:pt x="200" y="404"/>
                    <a:pt x="213" y="397"/>
                    <a:pt x="226" y="390"/>
                  </a:cubicBezTo>
                  <a:cubicBezTo>
                    <a:pt x="211" y="354"/>
                    <a:pt x="214" y="321"/>
                    <a:pt x="247" y="295"/>
                  </a:cubicBezTo>
                  <a:cubicBezTo>
                    <a:pt x="270" y="277"/>
                    <a:pt x="302" y="275"/>
                    <a:pt x="327" y="292"/>
                  </a:cubicBezTo>
                  <a:cubicBezTo>
                    <a:pt x="364" y="317"/>
                    <a:pt x="368" y="352"/>
                    <a:pt x="352" y="391"/>
                  </a:cubicBezTo>
                  <a:cubicBezTo>
                    <a:pt x="367" y="397"/>
                    <a:pt x="380" y="403"/>
                    <a:pt x="397" y="410"/>
                  </a:cubicBezTo>
                  <a:cubicBezTo>
                    <a:pt x="445" y="373"/>
                    <a:pt x="469" y="321"/>
                    <a:pt x="468" y="256"/>
                  </a:cubicBezTo>
                  <a:cubicBezTo>
                    <a:pt x="463" y="256"/>
                    <a:pt x="458" y="256"/>
                    <a:pt x="452" y="256"/>
                  </a:cubicBezTo>
                  <a:cubicBezTo>
                    <a:pt x="424" y="256"/>
                    <a:pt x="396" y="256"/>
                    <a:pt x="368" y="256"/>
                  </a:cubicBezTo>
                  <a:cubicBezTo>
                    <a:pt x="351" y="256"/>
                    <a:pt x="345" y="249"/>
                    <a:pt x="345" y="233"/>
                  </a:cubicBezTo>
                  <a:cubicBezTo>
                    <a:pt x="344" y="215"/>
                    <a:pt x="345" y="197"/>
                    <a:pt x="344" y="178"/>
                  </a:cubicBezTo>
                  <a:cubicBezTo>
                    <a:pt x="343" y="150"/>
                    <a:pt x="352" y="129"/>
                    <a:pt x="384" y="122"/>
                  </a:cubicBezTo>
                  <a:close/>
                  <a:moveTo>
                    <a:pt x="39" y="215"/>
                  </a:moveTo>
                  <a:cubicBezTo>
                    <a:pt x="91" y="215"/>
                    <a:pt x="141" y="215"/>
                    <a:pt x="193" y="215"/>
                  </a:cubicBezTo>
                  <a:cubicBezTo>
                    <a:pt x="193" y="208"/>
                    <a:pt x="193" y="201"/>
                    <a:pt x="193" y="195"/>
                  </a:cubicBezTo>
                  <a:cubicBezTo>
                    <a:pt x="192" y="157"/>
                    <a:pt x="199" y="167"/>
                    <a:pt x="164" y="155"/>
                  </a:cubicBezTo>
                  <a:cubicBezTo>
                    <a:pt x="157" y="153"/>
                    <a:pt x="149" y="151"/>
                    <a:pt x="143" y="154"/>
                  </a:cubicBezTo>
                  <a:cubicBezTo>
                    <a:pt x="123" y="163"/>
                    <a:pt x="104" y="164"/>
                    <a:pt x="85" y="153"/>
                  </a:cubicBezTo>
                  <a:cubicBezTo>
                    <a:pt x="79" y="149"/>
                    <a:pt x="43" y="160"/>
                    <a:pt x="40" y="167"/>
                  </a:cubicBezTo>
                  <a:cubicBezTo>
                    <a:pt x="39" y="168"/>
                    <a:pt x="39" y="170"/>
                    <a:pt x="39" y="172"/>
                  </a:cubicBezTo>
                  <a:cubicBezTo>
                    <a:pt x="39" y="186"/>
                    <a:pt x="39" y="200"/>
                    <a:pt x="39" y="215"/>
                  </a:cubicBezTo>
                  <a:close/>
                  <a:moveTo>
                    <a:pt x="539" y="215"/>
                  </a:moveTo>
                  <a:cubicBezTo>
                    <a:pt x="539" y="208"/>
                    <a:pt x="539" y="202"/>
                    <a:pt x="539" y="196"/>
                  </a:cubicBezTo>
                  <a:cubicBezTo>
                    <a:pt x="539" y="165"/>
                    <a:pt x="540" y="164"/>
                    <a:pt x="510" y="155"/>
                  </a:cubicBezTo>
                  <a:cubicBezTo>
                    <a:pt x="504" y="153"/>
                    <a:pt x="496" y="151"/>
                    <a:pt x="491" y="154"/>
                  </a:cubicBezTo>
                  <a:cubicBezTo>
                    <a:pt x="471" y="163"/>
                    <a:pt x="452" y="163"/>
                    <a:pt x="432" y="153"/>
                  </a:cubicBezTo>
                  <a:cubicBezTo>
                    <a:pt x="429" y="152"/>
                    <a:pt x="426" y="150"/>
                    <a:pt x="423" y="151"/>
                  </a:cubicBezTo>
                  <a:cubicBezTo>
                    <a:pt x="412" y="155"/>
                    <a:pt x="401" y="159"/>
                    <a:pt x="391" y="163"/>
                  </a:cubicBezTo>
                  <a:cubicBezTo>
                    <a:pt x="388" y="164"/>
                    <a:pt x="386" y="167"/>
                    <a:pt x="386" y="170"/>
                  </a:cubicBezTo>
                  <a:cubicBezTo>
                    <a:pt x="385" y="185"/>
                    <a:pt x="386" y="199"/>
                    <a:pt x="386" y="215"/>
                  </a:cubicBezTo>
                  <a:cubicBezTo>
                    <a:pt x="437" y="215"/>
                    <a:pt x="487" y="215"/>
                    <a:pt x="539" y="215"/>
                  </a:cubicBezTo>
                  <a:close/>
                  <a:moveTo>
                    <a:pt x="367" y="490"/>
                  </a:moveTo>
                  <a:cubicBezTo>
                    <a:pt x="367" y="483"/>
                    <a:pt x="367" y="477"/>
                    <a:pt x="367" y="471"/>
                  </a:cubicBezTo>
                  <a:cubicBezTo>
                    <a:pt x="367" y="440"/>
                    <a:pt x="367" y="439"/>
                    <a:pt x="337" y="429"/>
                  </a:cubicBezTo>
                  <a:cubicBezTo>
                    <a:pt x="331" y="427"/>
                    <a:pt x="324" y="426"/>
                    <a:pt x="319" y="428"/>
                  </a:cubicBezTo>
                  <a:cubicBezTo>
                    <a:pt x="299" y="439"/>
                    <a:pt x="280" y="439"/>
                    <a:pt x="260" y="428"/>
                  </a:cubicBezTo>
                  <a:cubicBezTo>
                    <a:pt x="257" y="427"/>
                    <a:pt x="252" y="426"/>
                    <a:pt x="249" y="427"/>
                  </a:cubicBezTo>
                  <a:cubicBezTo>
                    <a:pt x="239" y="430"/>
                    <a:pt x="229" y="433"/>
                    <a:pt x="220" y="437"/>
                  </a:cubicBezTo>
                  <a:cubicBezTo>
                    <a:pt x="217" y="439"/>
                    <a:pt x="213" y="442"/>
                    <a:pt x="213" y="445"/>
                  </a:cubicBezTo>
                  <a:cubicBezTo>
                    <a:pt x="213" y="459"/>
                    <a:pt x="213" y="474"/>
                    <a:pt x="213" y="490"/>
                  </a:cubicBezTo>
                  <a:cubicBezTo>
                    <a:pt x="265" y="490"/>
                    <a:pt x="315" y="490"/>
                    <a:pt x="367" y="490"/>
                  </a:cubicBezTo>
                  <a:close/>
                  <a:moveTo>
                    <a:pt x="86" y="86"/>
                  </a:moveTo>
                  <a:cubicBezTo>
                    <a:pt x="88" y="91"/>
                    <a:pt x="92" y="102"/>
                    <a:pt x="98" y="111"/>
                  </a:cubicBezTo>
                  <a:cubicBezTo>
                    <a:pt x="109" y="127"/>
                    <a:pt x="123" y="127"/>
                    <a:pt x="135" y="111"/>
                  </a:cubicBezTo>
                  <a:cubicBezTo>
                    <a:pt x="140" y="103"/>
                    <a:pt x="144" y="94"/>
                    <a:pt x="146" y="85"/>
                  </a:cubicBezTo>
                  <a:cubicBezTo>
                    <a:pt x="150" y="66"/>
                    <a:pt x="137" y="49"/>
                    <a:pt x="119" y="47"/>
                  </a:cubicBezTo>
                  <a:cubicBezTo>
                    <a:pt x="101" y="45"/>
                    <a:pt x="86" y="61"/>
                    <a:pt x="86" y="86"/>
                  </a:cubicBezTo>
                  <a:close/>
                  <a:moveTo>
                    <a:pt x="289" y="322"/>
                  </a:moveTo>
                  <a:cubicBezTo>
                    <a:pt x="275" y="322"/>
                    <a:pt x="262" y="333"/>
                    <a:pt x="259" y="347"/>
                  </a:cubicBezTo>
                  <a:cubicBezTo>
                    <a:pt x="256" y="362"/>
                    <a:pt x="269" y="389"/>
                    <a:pt x="283" y="395"/>
                  </a:cubicBezTo>
                  <a:cubicBezTo>
                    <a:pt x="287" y="397"/>
                    <a:pt x="293" y="397"/>
                    <a:pt x="296" y="395"/>
                  </a:cubicBezTo>
                  <a:cubicBezTo>
                    <a:pt x="311" y="388"/>
                    <a:pt x="322" y="362"/>
                    <a:pt x="319" y="346"/>
                  </a:cubicBezTo>
                  <a:cubicBezTo>
                    <a:pt x="316" y="332"/>
                    <a:pt x="302" y="321"/>
                    <a:pt x="289" y="322"/>
                  </a:cubicBezTo>
                  <a:close/>
                  <a:moveTo>
                    <a:pt x="431" y="78"/>
                  </a:moveTo>
                  <a:cubicBezTo>
                    <a:pt x="430" y="79"/>
                    <a:pt x="429" y="80"/>
                    <a:pt x="428" y="80"/>
                  </a:cubicBezTo>
                  <a:cubicBezTo>
                    <a:pt x="434" y="92"/>
                    <a:pt x="440" y="105"/>
                    <a:pt x="448" y="116"/>
                  </a:cubicBezTo>
                  <a:cubicBezTo>
                    <a:pt x="456" y="126"/>
                    <a:pt x="466" y="126"/>
                    <a:pt x="474" y="116"/>
                  </a:cubicBezTo>
                  <a:cubicBezTo>
                    <a:pt x="481" y="107"/>
                    <a:pt x="487" y="96"/>
                    <a:pt x="491" y="85"/>
                  </a:cubicBezTo>
                  <a:cubicBezTo>
                    <a:pt x="495" y="72"/>
                    <a:pt x="490" y="61"/>
                    <a:pt x="479" y="53"/>
                  </a:cubicBezTo>
                  <a:cubicBezTo>
                    <a:pt x="470" y="46"/>
                    <a:pt x="459" y="45"/>
                    <a:pt x="447" y="50"/>
                  </a:cubicBezTo>
                  <a:cubicBezTo>
                    <a:pt x="436" y="56"/>
                    <a:pt x="431" y="66"/>
                    <a:pt x="431" y="7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500">
                <a:solidFill>
                  <a:schemeClr val="tx2"/>
                </a:solidFill>
              </a:endParaRPr>
            </a:p>
          </p:txBody>
        </p:sp>
      </p:grpSp>
      <p:grpSp>
        <p:nvGrpSpPr>
          <p:cNvPr id="118854" name="Group 111">
            <a:extLst>
              <a:ext uri="{FF2B5EF4-FFF2-40B4-BE49-F238E27FC236}">
                <a16:creationId xmlns:a16="http://schemas.microsoft.com/office/drawing/2014/main" xmlns="" id="{5CDA1B34-1B87-4154-AB16-28F8830EA87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172276" y="5875930"/>
            <a:ext cx="438199" cy="394608"/>
            <a:chOff x="1287" y="543"/>
            <a:chExt cx="3098" cy="3146"/>
          </a:xfrm>
          <a:solidFill>
            <a:schemeClr val="accent4"/>
          </a:solidFill>
        </p:grpSpPr>
        <p:sp>
          <p:nvSpPr>
            <p:cNvPr id="118856" name="Freeform 112">
              <a:extLst>
                <a:ext uri="{FF2B5EF4-FFF2-40B4-BE49-F238E27FC236}">
                  <a16:creationId xmlns:a16="http://schemas.microsoft.com/office/drawing/2014/main" xmlns="" id="{2D4CB7F9-70CF-4E86-86DB-EB491594C2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7" y="543"/>
              <a:ext cx="3098" cy="3146"/>
            </a:xfrm>
            <a:custGeom>
              <a:avLst/>
              <a:gdLst>
                <a:gd name="T0" fmla="*/ 1149 w 1755"/>
                <a:gd name="T1" fmla="*/ 1661 h 1780"/>
                <a:gd name="T2" fmla="*/ 1149 w 1755"/>
                <a:gd name="T3" fmla="*/ 1780 h 1780"/>
                <a:gd name="T4" fmla="*/ 1075 w 1755"/>
                <a:gd name="T5" fmla="*/ 1780 h 1780"/>
                <a:gd name="T6" fmla="*/ 1075 w 1755"/>
                <a:gd name="T7" fmla="*/ 1582 h 1780"/>
                <a:gd name="T8" fmla="*/ 1092 w 1755"/>
                <a:gd name="T9" fmla="*/ 1583 h 1780"/>
                <a:gd name="T10" fmla="*/ 1190 w 1755"/>
                <a:gd name="T11" fmla="*/ 1590 h 1780"/>
                <a:gd name="T12" fmla="*/ 1268 w 1755"/>
                <a:gd name="T13" fmla="*/ 1592 h 1780"/>
                <a:gd name="T14" fmla="*/ 1418 w 1755"/>
                <a:gd name="T15" fmla="*/ 1522 h 1780"/>
                <a:gd name="T16" fmla="*/ 1464 w 1755"/>
                <a:gd name="T17" fmla="*/ 1450 h 1780"/>
                <a:gd name="T18" fmla="*/ 1482 w 1755"/>
                <a:gd name="T19" fmla="*/ 1353 h 1780"/>
                <a:gd name="T20" fmla="*/ 1482 w 1755"/>
                <a:gd name="T21" fmla="*/ 1142 h 1780"/>
                <a:gd name="T22" fmla="*/ 1488 w 1755"/>
                <a:gd name="T23" fmla="*/ 1132 h 1780"/>
                <a:gd name="T24" fmla="*/ 1645 w 1755"/>
                <a:gd name="T25" fmla="*/ 1054 h 1780"/>
                <a:gd name="T26" fmla="*/ 1659 w 1755"/>
                <a:gd name="T27" fmla="*/ 1007 h 1780"/>
                <a:gd name="T28" fmla="*/ 1570 w 1755"/>
                <a:gd name="T29" fmla="*/ 854 h 1780"/>
                <a:gd name="T30" fmla="*/ 1486 w 1755"/>
                <a:gd name="T31" fmla="*/ 707 h 1780"/>
                <a:gd name="T32" fmla="*/ 1481 w 1755"/>
                <a:gd name="T33" fmla="*/ 682 h 1780"/>
                <a:gd name="T34" fmla="*/ 1395 w 1755"/>
                <a:gd name="T35" fmla="*/ 394 h 1780"/>
                <a:gd name="T36" fmla="*/ 1306 w 1755"/>
                <a:gd name="T37" fmla="*/ 267 h 1780"/>
                <a:gd name="T38" fmla="*/ 1050 w 1755"/>
                <a:gd name="T39" fmla="*/ 112 h 1780"/>
                <a:gd name="T40" fmla="*/ 884 w 1755"/>
                <a:gd name="T41" fmla="*/ 80 h 1780"/>
                <a:gd name="T42" fmla="*/ 710 w 1755"/>
                <a:gd name="T43" fmla="*/ 78 h 1780"/>
                <a:gd name="T44" fmla="*/ 493 w 1755"/>
                <a:gd name="T45" fmla="*/ 121 h 1780"/>
                <a:gd name="T46" fmla="*/ 277 w 1755"/>
                <a:gd name="T47" fmla="*/ 253 h 1780"/>
                <a:gd name="T48" fmla="*/ 167 w 1755"/>
                <a:gd name="T49" fmla="*/ 397 h 1780"/>
                <a:gd name="T50" fmla="*/ 88 w 1755"/>
                <a:gd name="T51" fmla="*/ 634 h 1780"/>
                <a:gd name="T52" fmla="*/ 78 w 1755"/>
                <a:gd name="T53" fmla="*/ 824 h 1780"/>
                <a:gd name="T54" fmla="*/ 182 w 1755"/>
                <a:gd name="T55" fmla="*/ 1152 h 1780"/>
                <a:gd name="T56" fmla="*/ 238 w 1755"/>
                <a:gd name="T57" fmla="*/ 1241 h 1780"/>
                <a:gd name="T58" fmla="*/ 316 w 1755"/>
                <a:gd name="T59" fmla="*/ 1438 h 1780"/>
                <a:gd name="T60" fmla="*/ 335 w 1755"/>
                <a:gd name="T61" fmla="*/ 1608 h 1780"/>
                <a:gd name="T62" fmla="*/ 335 w 1755"/>
                <a:gd name="T63" fmla="*/ 1773 h 1780"/>
                <a:gd name="T64" fmla="*/ 335 w 1755"/>
                <a:gd name="T65" fmla="*/ 1780 h 1780"/>
                <a:gd name="T66" fmla="*/ 261 w 1755"/>
                <a:gd name="T67" fmla="*/ 1780 h 1780"/>
                <a:gd name="T68" fmla="*/ 261 w 1755"/>
                <a:gd name="T69" fmla="*/ 1773 h 1780"/>
                <a:gd name="T70" fmla="*/ 261 w 1755"/>
                <a:gd name="T71" fmla="*/ 1596 h 1780"/>
                <a:gd name="T72" fmla="*/ 241 w 1755"/>
                <a:gd name="T73" fmla="*/ 1446 h 1780"/>
                <a:gd name="T74" fmla="*/ 134 w 1755"/>
                <a:gd name="T75" fmla="*/ 1213 h 1780"/>
                <a:gd name="T76" fmla="*/ 18 w 1755"/>
                <a:gd name="T77" fmla="*/ 936 h 1780"/>
                <a:gd name="T78" fmla="*/ 4 w 1755"/>
                <a:gd name="T79" fmla="*/ 726 h 1780"/>
                <a:gd name="T80" fmla="*/ 58 w 1755"/>
                <a:gd name="T81" fmla="*/ 459 h 1780"/>
                <a:gd name="T82" fmla="*/ 167 w 1755"/>
                <a:gd name="T83" fmla="*/ 264 h 1780"/>
                <a:gd name="T84" fmla="*/ 426 w 1755"/>
                <a:gd name="T85" fmla="*/ 68 h 1780"/>
                <a:gd name="T86" fmla="*/ 628 w 1755"/>
                <a:gd name="T87" fmla="*/ 13 h 1780"/>
                <a:gd name="T88" fmla="*/ 857 w 1755"/>
                <a:gd name="T89" fmla="*/ 4 h 1780"/>
                <a:gd name="T90" fmla="*/ 1044 w 1755"/>
                <a:gd name="T91" fmla="*/ 34 h 1780"/>
                <a:gd name="T92" fmla="*/ 1292 w 1755"/>
                <a:gd name="T93" fmla="*/ 153 h 1780"/>
                <a:gd name="T94" fmla="*/ 1395 w 1755"/>
                <a:gd name="T95" fmla="*/ 256 h 1780"/>
                <a:gd name="T96" fmla="*/ 1505 w 1755"/>
                <a:gd name="T97" fmla="*/ 463 h 1780"/>
                <a:gd name="T98" fmla="*/ 1549 w 1755"/>
                <a:gd name="T99" fmla="*/ 650 h 1780"/>
                <a:gd name="T100" fmla="*/ 1553 w 1755"/>
                <a:gd name="T101" fmla="*/ 673 h 1780"/>
                <a:gd name="T102" fmla="*/ 1556 w 1755"/>
                <a:gd name="T103" fmla="*/ 681 h 1780"/>
                <a:gd name="T104" fmla="*/ 1652 w 1755"/>
                <a:gd name="T105" fmla="*/ 846 h 1780"/>
                <a:gd name="T106" fmla="*/ 1724 w 1755"/>
                <a:gd name="T107" fmla="*/ 971 h 1780"/>
                <a:gd name="T108" fmla="*/ 1680 w 1755"/>
                <a:gd name="T109" fmla="*/ 1119 h 1780"/>
                <a:gd name="T110" fmla="*/ 1561 w 1755"/>
                <a:gd name="T111" fmla="*/ 1178 h 1780"/>
                <a:gd name="T112" fmla="*/ 1556 w 1755"/>
                <a:gd name="T113" fmla="*/ 1187 h 1780"/>
                <a:gd name="T114" fmla="*/ 1556 w 1755"/>
                <a:gd name="T115" fmla="*/ 1363 h 1780"/>
                <a:gd name="T116" fmla="*/ 1387 w 1755"/>
                <a:gd name="T117" fmla="*/ 1635 h 1780"/>
                <a:gd name="T118" fmla="*/ 1228 w 1755"/>
                <a:gd name="T119" fmla="*/ 1666 h 1780"/>
                <a:gd name="T120" fmla="*/ 1154 w 1755"/>
                <a:gd name="T121" fmla="*/ 1661 h 1780"/>
                <a:gd name="T122" fmla="*/ 1149 w 1755"/>
                <a:gd name="T123" fmla="*/ 1661 h 17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755" h="1780">
                  <a:moveTo>
                    <a:pt x="1149" y="1661"/>
                  </a:moveTo>
                  <a:cubicBezTo>
                    <a:pt x="1149" y="1701"/>
                    <a:pt x="1149" y="1741"/>
                    <a:pt x="1149" y="1780"/>
                  </a:cubicBezTo>
                  <a:cubicBezTo>
                    <a:pt x="1124" y="1780"/>
                    <a:pt x="1100" y="1780"/>
                    <a:pt x="1075" y="1780"/>
                  </a:cubicBezTo>
                  <a:cubicBezTo>
                    <a:pt x="1075" y="1714"/>
                    <a:pt x="1075" y="1649"/>
                    <a:pt x="1075" y="1582"/>
                  </a:cubicBezTo>
                  <a:cubicBezTo>
                    <a:pt x="1081" y="1583"/>
                    <a:pt x="1086" y="1583"/>
                    <a:pt x="1092" y="1583"/>
                  </a:cubicBezTo>
                  <a:cubicBezTo>
                    <a:pt x="1125" y="1585"/>
                    <a:pt x="1157" y="1588"/>
                    <a:pt x="1190" y="1590"/>
                  </a:cubicBezTo>
                  <a:cubicBezTo>
                    <a:pt x="1216" y="1591"/>
                    <a:pt x="1242" y="1594"/>
                    <a:pt x="1268" y="1592"/>
                  </a:cubicBezTo>
                  <a:cubicBezTo>
                    <a:pt x="1327" y="1589"/>
                    <a:pt x="1377" y="1565"/>
                    <a:pt x="1418" y="1522"/>
                  </a:cubicBezTo>
                  <a:cubicBezTo>
                    <a:pt x="1438" y="1501"/>
                    <a:pt x="1454" y="1477"/>
                    <a:pt x="1464" y="1450"/>
                  </a:cubicBezTo>
                  <a:cubicBezTo>
                    <a:pt x="1476" y="1419"/>
                    <a:pt x="1482" y="1387"/>
                    <a:pt x="1482" y="1353"/>
                  </a:cubicBezTo>
                  <a:cubicBezTo>
                    <a:pt x="1482" y="1283"/>
                    <a:pt x="1482" y="1212"/>
                    <a:pt x="1482" y="1142"/>
                  </a:cubicBezTo>
                  <a:cubicBezTo>
                    <a:pt x="1482" y="1137"/>
                    <a:pt x="1483" y="1135"/>
                    <a:pt x="1488" y="1132"/>
                  </a:cubicBezTo>
                  <a:cubicBezTo>
                    <a:pt x="1540" y="1106"/>
                    <a:pt x="1593" y="1080"/>
                    <a:pt x="1645" y="1054"/>
                  </a:cubicBezTo>
                  <a:cubicBezTo>
                    <a:pt x="1666" y="1043"/>
                    <a:pt x="1670" y="1027"/>
                    <a:pt x="1659" y="1007"/>
                  </a:cubicBezTo>
                  <a:cubicBezTo>
                    <a:pt x="1629" y="956"/>
                    <a:pt x="1600" y="905"/>
                    <a:pt x="1570" y="854"/>
                  </a:cubicBezTo>
                  <a:cubicBezTo>
                    <a:pt x="1542" y="805"/>
                    <a:pt x="1513" y="756"/>
                    <a:pt x="1486" y="707"/>
                  </a:cubicBezTo>
                  <a:cubicBezTo>
                    <a:pt x="1482" y="700"/>
                    <a:pt x="1482" y="690"/>
                    <a:pt x="1481" y="682"/>
                  </a:cubicBezTo>
                  <a:cubicBezTo>
                    <a:pt x="1467" y="581"/>
                    <a:pt x="1442" y="484"/>
                    <a:pt x="1395" y="394"/>
                  </a:cubicBezTo>
                  <a:cubicBezTo>
                    <a:pt x="1371" y="348"/>
                    <a:pt x="1341" y="306"/>
                    <a:pt x="1306" y="267"/>
                  </a:cubicBezTo>
                  <a:cubicBezTo>
                    <a:pt x="1236" y="190"/>
                    <a:pt x="1149" y="142"/>
                    <a:pt x="1050" y="112"/>
                  </a:cubicBezTo>
                  <a:cubicBezTo>
                    <a:pt x="996" y="95"/>
                    <a:pt x="940" y="86"/>
                    <a:pt x="884" y="80"/>
                  </a:cubicBezTo>
                  <a:cubicBezTo>
                    <a:pt x="826" y="75"/>
                    <a:pt x="768" y="74"/>
                    <a:pt x="710" y="78"/>
                  </a:cubicBezTo>
                  <a:cubicBezTo>
                    <a:pt x="636" y="83"/>
                    <a:pt x="563" y="96"/>
                    <a:pt x="493" y="121"/>
                  </a:cubicBezTo>
                  <a:cubicBezTo>
                    <a:pt x="411" y="150"/>
                    <a:pt x="338" y="192"/>
                    <a:pt x="277" y="253"/>
                  </a:cubicBezTo>
                  <a:cubicBezTo>
                    <a:pt x="233" y="295"/>
                    <a:pt x="196" y="343"/>
                    <a:pt x="167" y="397"/>
                  </a:cubicBezTo>
                  <a:cubicBezTo>
                    <a:pt x="127" y="471"/>
                    <a:pt x="101" y="551"/>
                    <a:pt x="88" y="634"/>
                  </a:cubicBezTo>
                  <a:cubicBezTo>
                    <a:pt x="78" y="697"/>
                    <a:pt x="74" y="760"/>
                    <a:pt x="78" y="824"/>
                  </a:cubicBezTo>
                  <a:cubicBezTo>
                    <a:pt x="85" y="942"/>
                    <a:pt x="120" y="1051"/>
                    <a:pt x="182" y="1152"/>
                  </a:cubicBezTo>
                  <a:cubicBezTo>
                    <a:pt x="201" y="1181"/>
                    <a:pt x="221" y="1210"/>
                    <a:pt x="238" y="1241"/>
                  </a:cubicBezTo>
                  <a:cubicBezTo>
                    <a:pt x="274" y="1302"/>
                    <a:pt x="299" y="1368"/>
                    <a:pt x="316" y="1438"/>
                  </a:cubicBezTo>
                  <a:cubicBezTo>
                    <a:pt x="329" y="1494"/>
                    <a:pt x="336" y="1550"/>
                    <a:pt x="335" y="1608"/>
                  </a:cubicBezTo>
                  <a:cubicBezTo>
                    <a:pt x="335" y="1663"/>
                    <a:pt x="335" y="1718"/>
                    <a:pt x="335" y="1773"/>
                  </a:cubicBezTo>
                  <a:cubicBezTo>
                    <a:pt x="335" y="1775"/>
                    <a:pt x="335" y="1778"/>
                    <a:pt x="335" y="1780"/>
                  </a:cubicBezTo>
                  <a:cubicBezTo>
                    <a:pt x="311" y="1780"/>
                    <a:pt x="286" y="1780"/>
                    <a:pt x="261" y="1780"/>
                  </a:cubicBezTo>
                  <a:cubicBezTo>
                    <a:pt x="261" y="1778"/>
                    <a:pt x="261" y="1775"/>
                    <a:pt x="261" y="1773"/>
                  </a:cubicBezTo>
                  <a:cubicBezTo>
                    <a:pt x="261" y="1714"/>
                    <a:pt x="262" y="1655"/>
                    <a:pt x="261" y="1596"/>
                  </a:cubicBezTo>
                  <a:cubicBezTo>
                    <a:pt x="261" y="1545"/>
                    <a:pt x="254" y="1495"/>
                    <a:pt x="241" y="1446"/>
                  </a:cubicBezTo>
                  <a:cubicBezTo>
                    <a:pt x="220" y="1362"/>
                    <a:pt x="183" y="1285"/>
                    <a:pt x="134" y="1213"/>
                  </a:cubicBezTo>
                  <a:cubicBezTo>
                    <a:pt x="77" y="1129"/>
                    <a:pt x="38" y="1036"/>
                    <a:pt x="18" y="936"/>
                  </a:cubicBezTo>
                  <a:cubicBezTo>
                    <a:pt x="4" y="867"/>
                    <a:pt x="0" y="797"/>
                    <a:pt x="4" y="726"/>
                  </a:cubicBezTo>
                  <a:cubicBezTo>
                    <a:pt x="9" y="635"/>
                    <a:pt x="25" y="545"/>
                    <a:pt x="58" y="459"/>
                  </a:cubicBezTo>
                  <a:cubicBezTo>
                    <a:pt x="84" y="388"/>
                    <a:pt x="121" y="323"/>
                    <a:pt x="167" y="264"/>
                  </a:cubicBezTo>
                  <a:cubicBezTo>
                    <a:pt x="236" y="176"/>
                    <a:pt x="324" y="112"/>
                    <a:pt x="426" y="68"/>
                  </a:cubicBezTo>
                  <a:cubicBezTo>
                    <a:pt x="491" y="40"/>
                    <a:pt x="559" y="23"/>
                    <a:pt x="628" y="13"/>
                  </a:cubicBezTo>
                  <a:cubicBezTo>
                    <a:pt x="704" y="1"/>
                    <a:pt x="781" y="0"/>
                    <a:pt x="857" y="4"/>
                  </a:cubicBezTo>
                  <a:cubicBezTo>
                    <a:pt x="920" y="8"/>
                    <a:pt x="983" y="17"/>
                    <a:pt x="1044" y="34"/>
                  </a:cubicBezTo>
                  <a:cubicBezTo>
                    <a:pt x="1134" y="57"/>
                    <a:pt x="1218" y="95"/>
                    <a:pt x="1292" y="153"/>
                  </a:cubicBezTo>
                  <a:cubicBezTo>
                    <a:pt x="1330" y="183"/>
                    <a:pt x="1365" y="217"/>
                    <a:pt x="1395" y="256"/>
                  </a:cubicBezTo>
                  <a:cubicBezTo>
                    <a:pt x="1443" y="319"/>
                    <a:pt x="1479" y="388"/>
                    <a:pt x="1505" y="463"/>
                  </a:cubicBezTo>
                  <a:cubicBezTo>
                    <a:pt x="1526" y="524"/>
                    <a:pt x="1540" y="586"/>
                    <a:pt x="1549" y="650"/>
                  </a:cubicBezTo>
                  <a:cubicBezTo>
                    <a:pt x="1550" y="658"/>
                    <a:pt x="1551" y="666"/>
                    <a:pt x="1553" y="673"/>
                  </a:cubicBezTo>
                  <a:cubicBezTo>
                    <a:pt x="1553" y="676"/>
                    <a:pt x="1554" y="678"/>
                    <a:pt x="1556" y="681"/>
                  </a:cubicBezTo>
                  <a:cubicBezTo>
                    <a:pt x="1588" y="736"/>
                    <a:pt x="1620" y="791"/>
                    <a:pt x="1652" y="846"/>
                  </a:cubicBezTo>
                  <a:cubicBezTo>
                    <a:pt x="1676" y="888"/>
                    <a:pt x="1700" y="930"/>
                    <a:pt x="1724" y="971"/>
                  </a:cubicBezTo>
                  <a:cubicBezTo>
                    <a:pt x="1755" y="1024"/>
                    <a:pt x="1735" y="1092"/>
                    <a:pt x="1680" y="1119"/>
                  </a:cubicBezTo>
                  <a:cubicBezTo>
                    <a:pt x="1640" y="1139"/>
                    <a:pt x="1601" y="1159"/>
                    <a:pt x="1561" y="1178"/>
                  </a:cubicBezTo>
                  <a:cubicBezTo>
                    <a:pt x="1557" y="1180"/>
                    <a:pt x="1556" y="1183"/>
                    <a:pt x="1556" y="1187"/>
                  </a:cubicBezTo>
                  <a:cubicBezTo>
                    <a:pt x="1556" y="1246"/>
                    <a:pt x="1558" y="1304"/>
                    <a:pt x="1556" y="1363"/>
                  </a:cubicBezTo>
                  <a:cubicBezTo>
                    <a:pt x="1551" y="1485"/>
                    <a:pt x="1495" y="1577"/>
                    <a:pt x="1387" y="1635"/>
                  </a:cubicBezTo>
                  <a:cubicBezTo>
                    <a:pt x="1337" y="1661"/>
                    <a:pt x="1284" y="1671"/>
                    <a:pt x="1228" y="1666"/>
                  </a:cubicBezTo>
                  <a:cubicBezTo>
                    <a:pt x="1203" y="1664"/>
                    <a:pt x="1179" y="1663"/>
                    <a:pt x="1154" y="1661"/>
                  </a:cubicBezTo>
                  <a:cubicBezTo>
                    <a:pt x="1153" y="1661"/>
                    <a:pt x="1151" y="1661"/>
                    <a:pt x="1149" y="166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500"/>
            </a:p>
          </p:txBody>
        </p:sp>
        <p:sp>
          <p:nvSpPr>
            <p:cNvPr id="118857" name="Freeform 113">
              <a:extLst>
                <a:ext uri="{FF2B5EF4-FFF2-40B4-BE49-F238E27FC236}">
                  <a16:creationId xmlns:a16="http://schemas.microsoft.com/office/drawing/2014/main" xmlns="" id="{88E02703-02A1-40B8-BF9C-FC6FD075A7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49" y="1529"/>
              <a:ext cx="913" cy="916"/>
            </a:xfrm>
            <a:custGeom>
              <a:avLst/>
              <a:gdLst>
                <a:gd name="T0" fmla="*/ 221 w 517"/>
                <a:gd name="T1" fmla="*/ 0 h 518"/>
                <a:gd name="T2" fmla="*/ 295 w 517"/>
                <a:gd name="T3" fmla="*/ 0 h 518"/>
                <a:gd name="T4" fmla="*/ 295 w 517"/>
                <a:gd name="T5" fmla="*/ 78 h 518"/>
                <a:gd name="T6" fmla="*/ 359 w 517"/>
                <a:gd name="T7" fmla="*/ 105 h 518"/>
                <a:gd name="T8" fmla="*/ 414 w 517"/>
                <a:gd name="T9" fmla="*/ 50 h 518"/>
                <a:gd name="T10" fmla="*/ 467 w 517"/>
                <a:gd name="T11" fmla="*/ 103 h 518"/>
                <a:gd name="T12" fmla="*/ 412 w 517"/>
                <a:gd name="T13" fmla="*/ 157 h 518"/>
                <a:gd name="T14" fmla="*/ 439 w 517"/>
                <a:gd name="T15" fmla="*/ 222 h 518"/>
                <a:gd name="T16" fmla="*/ 517 w 517"/>
                <a:gd name="T17" fmla="*/ 222 h 518"/>
                <a:gd name="T18" fmla="*/ 517 w 517"/>
                <a:gd name="T19" fmla="*/ 297 h 518"/>
                <a:gd name="T20" fmla="*/ 439 w 517"/>
                <a:gd name="T21" fmla="*/ 297 h 518"/>
                <a:gd name="T22" fmla="*/ 413 w 517"/>
                <a:gd name="T23" fmla="*/ 361 h 518"/>
                <a:gd name="T24" fmla="*/ 467 w 517"/>
                <a:gd name="T25" fmla="*/ 415 h 518"/>
                <a:gd name="T26" fmla="*/ 413 w 517"/>
                <a:gd name="T27" fmla="*/ 469 h 518"/>
                <a:gd name="T28" fmla="*/ 410 w 517"/>
                <a:gd name="T29" fmla="*/ 464 h 518"/>
                <a:gd name="T30" fmla="*/ 364 w 517"/>
                <a:gd name="T31" fmla="*/ 417 h 518"/>
                <a:gd name="T32" fmla="*/ 356 w 517"/>
                <a:gd name="T33" fmla="*/ 416 h 518"/>
                <a:gd name="T34" fmla="*/ 300 w 517"/>
                <a:gd name="T35" fmla="*/ 440 h 518"/>
                <a:gd name="T36" fmla="*/ 295 w 517"/>
                <a:gd name="T37" fmla="*/ 446 h 518"/>
                <a:gd name="T38" fmla="*/ 295 w 517"/>
                <a:gd name="T39" fmla="*/ 512 h 518"/>
                <a:gd name="T40" fmla="*/ 295 w 517"/>
                <a:gd name="T41" fmla="*/ 518 h 518"/>
                <a:gd name="T42" fmla="*/ 221 w 517"/>
                <a:gd name="T43" fmla="*/ 518 h 518"/>
                <a:gd name="T44" fmla="*/ 221 w 517"/>
                <a:gd name="T45" fmla="*/ 512 h 518"/>
                <a:gd name="T46" fmla="*/ 221 w 517"/>
                <a:gd name="T47" fmla="*/ 447 h 518"/>
                <a:gd name="T48" fmla="*/ 215 w 517"/>
                <a:gd name="T49" fmla="*/ 440 h 518"/>
                <a:gd name="T50" fmla="*/ 161 w 517"/>
                <a:gd name="T51" fmla="*/ 417 h 518"/>
                <a:gd name="T52" fmla="*/ 153 w 517"/>
                <a:gd name="T53" fmla="*/ 418 h 518"/>
                <a:gd name="T54" fmla="*/ 106 w 517"/>
                <a:gd name="T55" fmla="*/ 464 h 518"/>
                <a:gd name="T56" fmla="*/ 103 w 517"/>
                <a:gd name="T57" fmla="*/ 469 h 518"/>
                <a:gd name="T58" fmla="*/ 50 w 517"/>
                <a:gd name="T59" fmla="*/ 416 h 518"/>
                <a:gd name="T60" fmla="*/ 54 w 517"/>
                <a:gd name="T61" fmla="*/ 412 h 518"/>
                <a:gd name="T62" fmla="*/ 101 w 517"/>
                <a:gd name="T63" fmla="*/ 365 h 518"/>
                <a:gd name="T64" fmla="*/ 102 w 517"/>
                <a:gd name="T65" fmla="*/ 357 h 518"/>
                <a:gd name="T66" fmla="*/ 78 w 517"/>
                <a:gd name="T67" fmla="*/ 302 h 518"/>
                <a:gd name="T68" fmla="*/ 72 w 517"/>
                <a:gd name="T69" fmla="*/ 297 h 518"/>
                <a:gd name="T70" fmla="*/ 6 w 517"/>
                <a:gd name="T71" fmla="*/ 297 h 518"/>
                <a:gd name="T72" fmla="*/ 0 w 517"/>
                <a:gd name="T73" fmla="*/ 297 h 518"/>
                <a:gd name="T74" fmla="*/ 0 w 517"/>
                <a:gd name="T75" fmla="*/ 222 h 518"/>
                <a:gd name="T76" fmla="*/ 77 w 517"/>
                <a:gd name="T77" fmla="*/ 222 h 518"/>
                <a:gd name="T78" fmla="*/ 105 w 517"/>
                <a:gd name="T79" fmla="*/ 157 h 518"/>
                <a:gd name="T80" fmla="*/ 50 w 517"/>
                <a:gd name="T81" fmla="*/ 102 h 518"/>
                <a:gd name="T82" fmla="*/ 101 w 517"/>
                <a:gd name="T83" fmla="*/ 51 h 518"/>
                <a:gd name="T84" fmla="*/ 156 w 517"/>
                <a:gd name="T85" fmla="*/ 105 h 518"/>
                <a:gd name="T86" fmla="*/ 221 w 517"/>
                <a:gd name="T87" fmla="*/ 78 h 518"/>
                <a:gd name="T88" fmla="*/ 221 w 517"/>
                <a:gd name="T89" fmla="*/ 0 h 518"/>
                <a:gd name="T90" fmla="*/ 258 w 517"/>
                <a:gd name="T91" fmla="*/ 371 h 518"/>
                <a:gd name="T92" fmla="*/ 369 w 517"/>
                <a:gd name="T93" fmla="*/ 259 h 518"/>
                <a:gd name="T94" fmla="*/ 258 w 517"/>
                <a:gd name="T95" fmla="*/ 148 h 518"/>
                <a:gd name="T96" fmla="*/ 147 w 517"/>
                <a:gd name="T97" fmla="*/ 259 h 518"/>
                <a:gd name="T98" fmla="*/ 258 w 517"/>
                <a:gd name="T99" fmla="*/ 371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17" h="518">
                  <a:moveTo>
                    <a:pt x="221" y="0"/>
                  </a:moveTo>
                  <a:cubicBezTo>
                    <a:pt x="246" y="0"/>
                    <a:pt x="271" y="0"/>
                    <a:pt x="295" y="0"/>
                  </a:cubicBezTo>
                  <a:cubicBezTo>
                    <a:pt x="295" y="26"/>
                    <a:pt x="295" y="52"/>
                    <a:pt x="295" y="78"/>
                  </a:cubicBezTo>
                  <a:cubicBezTo>
                    <a:pt x="319" y="83"/>
                    <a:pt x="340" y="92"/>
                    <a:pt x="359" y="105"/>
                  </a:cubicBezTo>
                  <a:cubicBezTo>
                    <a:pt x="378" y="86"/>
                    <a:pt x="396" y="68"/>
                    <a:pt x="414" y="50"/>
                  </a:cubicBezTo>
                  <a:cubicBezTo>
                    <a:pt x="432" y="68"/>
                    <a:pt x="449" y="85"/>
                    <a:pt x="467" y="103"/>
                  </a:cubicBezTo>
                  <a:cubicBezTo>
                    <a:pt x="449" y="120"/>
                    <a:pt x="430" y="139"/>
                    <a:pt x="412" y="157"/>
                  </a:cubicBezTo>
                  <a:cubicBezTo>
                    <a:pt x="425" y="177"/>
                    <a:pt x="434" y="198"/>
                    <a:pt x="439" y="222"/>
                  </a:cubicBezTo>
                  <a:cubicBezTo>
                    <a:pt x="465" y="222"/>
                    <a:pt x="491" y="222"/>
                    <a:pt x="517" y="222"/>
                  </a:cubicBezTo>
                  <a:cubicBezTo>
                    <a:pt x="517" y="247"/>
                    <a:pt x="517" y="272"/>
                    <a:pt x="517" y="297"/>
                  </a:cubicBezTo>
                  <a:cubicBezTo>
                    <a:pt x="491" y="297"/>
                    <a:pt x="465" y="297"/>
                    <a:pt x="439" y="297"/>
                  </a:cubicBezTo>
                  <a:cubicBezTo>
                    <a:pt x="434" y="320"/>
                    <a:pt x="425" y="341"/>
                    <a:pt x="413" y="361"/>
                  </a:cubicBezTo>
                  <a:cubicBezTo>
                    <a:pt x="431" y="379"/>
                    <a:pt x="449" y="397"/>
                    <a:pt x="467" y="415"/>
                  </a:cubicBezTo>
                  <a:cubicBezTo>
                    <a:pt x="449" y="433"/>
                    <a:pt x="432" y="450"/>
                    <a:pt x="413" y="469"/>
                  </a:cubicBezTo>
                  <a:cubicBezTo>
                    <a:pt x="413" y="468"/>
                    <a:pt x="412" y="466"/>
                    <a:pt x="410" y="464"/>
                  </a:cubicBezTo>
                  <a:cubicBezTo>
                    <a:pt x="395" y="449"/>
                    <a:pt x="379" y="433"/>
                    <a:pt x="364" y="417"/>
                  </a:cubicBezTo>
                  <a:cubicBezTo>
                    <a:pt x="361" y="415"/>
                    <a:pt x="359" y="414"/>
                    <a:pt x="356" y="416"/>
                  </a:cubicBezTo>
                  <a:cubicBezTo>
                    <a:pt x="339" y="428"/>
                    <a:pt x="320" y="435"/>
                    <a:pt x="300" y="440"/>
                  </a:cubicBezTo>
                  <a:cubicBezTo>
                    <a:pt x="296" y="441"/>
                    <a:pt x="295" y="443"/>
                    <a:pt x="295" y="446"/>
                  </a:cubicBezTo>
                  <a:cubicBezTo>
                    <a:pt x="295" y="468"/>
                    <a:pt x="295" y="490"/>
                    <a:pt x="295" y="512"/>
                  </a:cubicBezTo>
                  <a:cubicBezTo>
                    <a:pt x="295" y="514"/>
                    <a:pt x="295" y="516"/>
                    <a:pt x="295" y="518"/>
                  </a:cubicBezTo>
                  <a:cubicBezTo>
                    <a:pt x="270" y="518"/>
                    <a:pt x="246" y="518"/>
                    <a:pt x="221" y="518"/>
                  </a:cubicBezTo>
                  <a:cubicBezTo>
                    <a:pt x="221" y="516"/>
                    <a:pt x="221" y="514"/>
                    <a:pt x="221" y="512"/>
                  </a:cubicBezTo>
                  <a:cubicBezTo>
                    <a:pt x="221" y="490"/>
                    <a:pt x="221" y="469"/>
                    <a:pt x="221" y="447"/>
                  </a:cubicBezTo>
                  <a:cubicBezTo>
                    <a:pt x="221" y="442"/>
                    <a:pt x="220" y="441"/>
                    <a:pt x="215" y="440"/>
                  </a:cubicBezTo>
                  <a:cubicBezTo>
                    <a:pt x="196" y="435"/>
                    <a:pt x="178" y="427"/>
                    <a:pt x="161" y="417"/>
                  </a:cubicBezTo>
                  <a:cubicBezTo>
                    <a:pt x="157" y="414"/>
                    <a:pt x="155" y="415"/>
                    <a:pt x="153" y="418"/>
                  </a:cubicBezTo>
                  <a:cubicBezTo>
                    <a:pt x="137" y="433"/>
                    <a:pt x="122" y="449"/>
                    <a:pt x="106" y="464"/>
                  </a:cubicBezTo>
                  <a:cubicBezTo>
                    <a:pt x="105" y="466"/>
                    <a:pt x="104" y="468"/>
                    <a:pt x="103" y="469"/>
                  </a:cubicBezTo>
                  <a:cubicBezTo>
                    <a:pt x="85" y="451"/>
                    <a:pt x="68" y="434"/>
                    <a:pt x="50" y="416"/>
                  </a:cubicBezTo>
                  <a:cubicBezTo>
                    <a:pt x="51" y="415"/>
                    <a:pt x="52" y="414"/>
                    <a:pt x="54" y="412"/>
                  </a:cubicBezTo>
                  <a:cubicBezTo>
                    <a:pt x="69" y="397"/>
                    <a:pt x="85" y="381"/>
                    <a:pt x="101" y="365"/>
                  </a:cubicBezTo>
                  <a:cubicBezTo>
                    <a:pt x="104" y="362"/>
                    <a:pt x="104" y="361"/>
                    <a:pt x="102" y="357"/>
                  </a:cubicBezTo>
                  <a:cubicBezTo>
                    <a:pt x="91" y="340"/>
                    <a:pt x="83" y="322"/>
                    <a:pt x="78" y="302"/>
                  </a:cubicBezTo>
                  <a:cubicBezTo>
                    <a:pt x="77" y="298"/>
                    <a:pt x="76" y="297"/>
                    <a:pt x="72" y="297"/>
                  </a:cubicBezTo>
                  <a:cubicBezTo>
                    <a:pt x="50" y="297"/>
                    <a:pt x="28" y="297"/>
                    <a:pt x="6" y="297"/>
                  </a:cubicBezTo>
                  <a:cubicBezTo>
                    <a:pt x="4" y="297"/>
                    <a:pt x="2" y="297"/>
                    <a:pt x="0" y="297"/>
                  </a:cubicBezTo>
                  <a:cubicBezTo>
                    <a:pt x="0" y="272"/>
                    <a:pt x="0" y="247"/>
                    <a:pt x="0" y="222"/>
                  </a:cubicBezTo>
                  <a:cubicBezTo>
                    <a:pt x="26" y="222"/>
                    <a:pt x="51" y="222"/>
                    <a:pt x="77" y="222"/>
                  </a:cubicBezTo>
                  <a:cubicBezTo>
                    <a:pt x="82" y="198"/>
                    <a:pt x="91" y="177"/>
                    <a:pt x="105" y="157"/>
                  </a:cubicBezTo>
                  <a:cubicBezTo>
                    <a:pt x="86" y="139"/>
                    <a:pt x="68" y="120"/>
                    <a:pt x="50" y="102"/>
                  </a:cubicBezTo>
                  <a:cubicBezTo>
                    <a:pt x="67" y="85"/>
                    <a:pt x="84" y="68"/>
                    <a:pt x="101" y="51"/>
                  </a:cubicBezTo>
                  <a:cubicBezTo>
                    <a:pt x="119" y="69"/>
                    <a:pt x="138" y="87"/>
                    <a:pt x="156" y="105"/>
                  </a:cubicBezTo>
                  <a:cubicBezTo>
                    <a:pt x="176" y="92"/>
                    <a:pt x="197" y="83"/>
                    <a:pt x="221" y="78"/>
                  </a:cubicBezTo>
                  <a:cubicBezTo>
                    <a:pt x="221" y="52"/>
                    <a:pt x="221" y="26"/>
                    <a:pt x="221" y="0"/>
                  </a:cubicBezTo>
                  <a:close/>
                  <a:moveTo>
                    <a:pt x="258" y="371"/>
                  </a:moveTo>
                  <a:cubicBezTo>
                    <a:pt x="321" y="371"/>
                    <a:pt x="369" y="322"/>
                    <a:pt x="369" y="259"/>
                  </a:cubicBezTo>
                  <a:cubicBezTo>
                    <a:pt x="369" y="197"/>
                    <a:pt x="320" y="148"/>
                    <a:pt x="258" y="148"/>
                  </a:cubicBezTo>
                  <a:cubicBezTo>
                    <a:pt x="196" y="148"/>
                    <a:pt x="147" y="197"/>
                    <a:pt x="147" y="259"/>
                  </a:cubicBezTo>
                  <a:cubicBezTo>
                    <a:pt x="148" y="322"/>
                    <a:pt x="196" y="371"/>
                    <a:pt x="258" y="37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500"/>
            </a:p>
          </p:txBody>
        </p:sp>
        <p:sp>
          <p:nvSpPr>
            <p:cNvPr id="118858" name="Freeform 114">
              <a:extLst>
                <a:ext uri="{FF2B5EF4-FFF2-40B4-BE49-F238E27FC236}">
                  <a16:creationId xmlns:a16="http://schemas.microsoft.com/office/drawing/2014/main" xmlns="" id="{CDD2AEB7-F0D9-4B45-AC2D-A108FCA733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33" y="1006"/>
              <a:ext cx="913" cy="914"/>
            </a:xfrm>
            <a:custGeom>
              <a:avLst/>
              <a:gdLst>
                <a:gd name="T0" fmla="*/ 102 w 517"/>
                <a:gd name="T1" fmla="*/ 50 h 517"/>
                <a:gd name="T2" fmla="*/ 157 w 517"/>
                <a:gd name="T3" fmla="*/ 105 h 517"/>
                <a:gd name="T4" fmla="*/ 221 w 517"/>
                <a:gd name="T5" fmla="*/ 78 h 517"/>
                <a:gd name="T6" fmla="*/ 221 w 517"/>
                <a:gd name="T7" fmla="*/ 0 h 517"/>
                <a:gd name="T8" fmla="*/ 295 w 517"/>
                <a:gd name="T9" fmla="*/ 0 h 517"/>
                <a:gd name="T10" fmla="*/ 295 w 517"/>
                <a:gd name="T11" fmla="*/ 78 h 517"/>
                <a:gd name="T12" fmla="*/ 359 w 517"/>
                <a:gd name="T13" fmla="*/ 105 h 517"/>
                <a:gd name="T14" fmla="*/ 414 w 517"/>
                <a:gd name="T15" fmla="*/ 50 h 517"/>
                <a:gd name="T16" fmla="*/ 466 w 517"/>
                <a:gd name="T17" fmla="*/ 103 h 517"/>
                <a:gd name="T18" fmla="*/ 446 w 517"/>
                <a:gd name="T19" fmla="*/ 123 h 517"/>
                <a:gd name="T20" fmla="*/ 415 w 517"/>
                <a:gd name="T21" fmla="*/ 154 h 517"/>
                <a:gd name="T22" fmla="*/ 414 w 517"/>
                <a:gd name="T23" fmla="*/ 160 h 517"/>
                <a:gd name="T24" fmla="*/ 439 w 517"/>
                <a:gd name="T25" fmla="*/ 222 h 517"/>
                <a:gd name="T26" fmla="*/ 517 w 517"/>
                <a:gd name="T27" fmla="*/ 222 h 517"/>
                <a:gd name="T28" fmla="*/ 517 w 517"/>
                <a:gd name="T29" fmla="*/ 296 h 517"/>
                <a:gd name="T30" fmla="*/ 439 w 517"/>
                <a:gd name="T31" fmla="*/ 296 h 517"/>
                <a:gd name="T32" fmla="*/ 412 w 517"/>
                <a:gd name="T33" fmla="*/ 361 h 517"/>
                <a:gd name="T34" fmla="*/ 467 w 517"/>
                <a:gd name="T35" fmla="*/ 415 h 517"/>
                <a:gd name="T36" fmla="*/ 414 w 517"/>
                <a:gd name="T37" fmla="*/ 467 h 517"/>
                <a:gd name="T38" fmla="*/ 411 w 517"/>
                <a:gd name="T39" fmla="*/ 464 h 517"/>
                <a:gd name="T40" fmla="*/ 364 w 517"/>
                <a:gd name="T41" fmla="*/ 417 h 517"/>
                <a:gd name="T42" fmla="*/ 355 w 517"/>
                <a:gd name="T43" fmla="*/ 416 h 517"/>
                <a:gd name="T44" fmla="*/ 300 w 517"/>
                <a:gd name="T45" fmla="*/ 439 h 517"/>
                <a:gd name="T46" fmla="*/ 295 w 517"/>
                <a:gd name="T47" fmla="*/ 445 h 517"/>
                <a:gd name="T48" fmla="*/ 295 w 517"/>
                <a:gd name="T49" fmla="*/ 511 h 517"/>
                <a:gd name="T50" fmla="*/ 295 w 517"/>
                <a:gd name="T51" fmla="*/ 517 h 517"/>
                <a:gd name="T52" fmla="*/ 221 w 517"/>
                <a:gd name="T53" fmla="*/ 517 h 517"/>
                <a:gd name="T54" fmla="*/ 221 w 517"/>
                <a:gd name="T55" fmla="*/ 511 h 517"/>
                <a:gd name="T56" fmla="*/ 221 w 517"/>
                <a:gd name="T57" fmla="*/ 445 h 517"/>
                <a:gd name="T58" fmla="*/ 216 w 517"/>
                <a:gd name="T59" fmla="*/ 439 h 517"/>
                <a:gd name="T60" fmla="*/ 161 w 517"/>
                <a:gd name="T61" fmla="*/ 416 h 517"/>
                <a:gd name="T62" fmla="*/ 156 w 517"/>
                <a:gd name="T63" fmla="*/ 413 h 517"/>
                <a:gd name="T64" fmla="*/ 103 w 517"/>
                <a:gd name="T65" fmla="*/ 467 h 517"/>
                <a:gd name="T66" fmla="*/ 50 w 517"/>
                <a:gd name="T67" fmla="*/ 415 h 517"/>
                <a:gd name="T68" fmla="*/ 103 w 517"/>
                <a:gd name="T69" fmla="*/ 362 h 517"/>
                <a:gd name="T70" fmla="*/ 84 w 517"/>
                <a:gd name="T71" fmla="*/ 321 h 517"/>
                <a:gd name="T72" fmla="*/ 78 w 517"/>
                <a:gd name="T73" fmla="*/ 301 h 517"/>
                <a:gd name="T74" fmla="*/ 72 w 517"/>
                <a:gd name="T75" fmla="*/ 296 h 517"/>
                <a:gd name="T76" fmla="*/ 5 w 517"/>
                <a:gd name="T77" fmla="*/ 296 h 517"/>
                <a:gd name="T78" fmla="*/ 0 w 517"/>
                <a:gd name="T79" fmla="*/ 296 h 517"/>
                <a:gd name="T80" fmla="*/ 0 w 517"/>
                <a:gd name="T81" fmla="*/ 222 h 517"/>
                <a:gd name="T82" fmla="*/ 6 w 517"/>
                <a:gd name="T83" fmla="*/ 222 h 517"/>
                <a:gd name="T84" fmla="*/ 70 w 517"/>
                <a:gd name="T85" fmla="*/ 222 h 517"/>
                <a:gd name="T86" fmla="*/ 79 w 517"/>
                <a:gd name="T87" fmla="*/ 215 h 517"/>
                <a:gd name="T88" fmla="*/ 101 w 517"/>
                <a:gd name="T89" fmla="*/ 162 h 517"/>
                <a:gd name="T90" fmla="*/ 100 w 517"/>
                <a:gd name="T91" fmla="*/ 153 h 517"/>
                <a:gd name="T92" fmla="*/ 54 w 517"/>
                <a:gd name="T93" fmla="*/ 107 h 517"/>
                <a:gd name="T94" fmla="*/ 49 w 517"/>
                <a:gd name="T95" fmla="*/ 103 h 517"/>
                <a:gd name="T96" fmla="*/ 102 w 517"/>
                <a:gd name="T97" fmla="*/ 50 h 517"/>
                <a:gd name="T98" fmla="*/ 258 w 517"/>
                <a:gd name="T99" fmla="*/ 370 h 517"/>
                <a:gd name="T100" fmla="*/ 369 w 517"/>
                <a:gd name="T101" fmla="*/ 259 h 517"/>
                <a:gd name="T102" fmla="*/ 256 w 517"/>
                <a:gd name="T103" fmla="*/ 148 h 517"/>
                <a:gd name="T104" fmla="*/ 147 w 517"/>
                <a:gd name="T105" fmla="*/ 259 h 517"/>
                <a:gd name="T106" fmla="*/ 258 w 517"/>
                <a:gd name="T107" fmla="*/ 370 h 5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17" h="517">
                  <a:moveTo>
                    <a:pt x="102" y="50"/>
                  </a:moveTo>
                  <a:cubicBezTo>
                    <a:pt x="120" y="68"/>
                    <a:pt x="138" y="86"/>
                    <a:pt x="157" y="105"/>
                  </a:cubicBezTo>
                  <a:cubicBezTo>
                    <a:pt x="176" y="92"/>
                    <a:pt x="197" y="83"/>
                    <a:pt x="221" y="78"/>
                  </a:cubicBezTo>
                  <a:cubicBezTo>
                    <a:pt x="221" y="52"/>
                    <a:pt x="221" y="27"/>
                    <a:pt x="221" y="0"/>
                  </a:cubicBezTo>
                  <a:cubicBezTo>
                    <a:pt x="246" y="0"/>
                    <a:pt x="270" y="0"/>
                    <a:pt x="295" y="0"/>
                  </a:cubicBezTo>
                  <a:cubicBezTo>
                    <a:pt x="295" y="26"/>
                    <a:pt x="295" y="52"/>
                    <a:pt x="295" y="78"/>
                  </a:cubicBezTo>
                  <a:cubicBezTo>
                    <a:pt x="319" y="83"/>
                    <a:pt x="340" y="92"/>
                    <a:pt x="359" y="105"/>
                  </a:cubicBezTo>
                  <a:cubicBezTo>
                    <a:pt x="378" y="86"/>
                    <a:pt x="396" y="68"/>
                    <a:pt x="414" y="50"/>
                  </a:cubicBezTo>
                  <a:cubicBezTo>
                    <a:pt x="432" y="68"/>
                    <a:pt x="449" y="85"/>
                    <a:pt x="466" y="103"/>
                  </a:cubicBezTo>
                  <a:cubicBezTo>
                    <a:pt x="460" y="109"/>
                    <a:pt x="453" y="116"/>
                    <a:pt x="446" y="123"/>
                  </a:cubicBezTo>
                  <a:cubicBezTo>
                    <a:pt x="436" y="133"/>
                    <a:pt x="426" y="144"/>
                    <a:pt x="415" y="154"/>
                  </a:cubicBezTo>
                  <a:cubicBezTo>
                    <a:pt x="413" y="156"/>
                    <a:pt x="412" y="157"/>
                    <a:pt x="414" y="160"/>
                  </a:cubicBezTo>
                  <a:cubicBezTo>
                    <a:pt x="426" y="179"/>
                    <a:pt x="434" y="199"/>
                    <a:pt x="439" y="222"/>
                  </a:cubicBezTo>
                  <a:cubicBezTo>
                    <a:pt x="465" y="222"/>
                    <a:pt x="491" y="222"/>
                    <a:pt x="517" y="222"/>
                  </a:cubicBezTo>
                  <a:cubicBezTo>
                    <a:pt x="517" y="247"/>
                    <a:pt x="517" y="271"/>
                    <a:pt x="517" y="296"/>
                  </a:cubicBezTo>
                  <a:cubicBezTo>
                    <a:pt x="491" y="296"/>
                    <a:pt x="465" y="296"/>
                    <a:pt x="439" y="296"/>
                  </a:cubicBezTo>
                  <a:cubicBezTo>
                    <a:pt x="434" y="319"/>
                    <a:pt x="425" y="341"/>
                    <a:pt x="412" y="361"/>
                  </a:cubicBezTo>
                  <a:cubicBezTo>
                    <a:pt x="430" y="379"/>
                    <a:pt x="449" y="397"/>
                    <a:pt x="467" y="415"/>
                  </a:cubicBezTo>
                  <a:cubicBezTo>
                    <a:pt x="449" y="433"/>
                    <a:pt x="432" y="450"/>
                    <a:pt x="414" y="467"/>
                  </a:cubicBezTo>
                  <a:cubicBezTo>
                    <a:pt x="414" y="466"/>
                    <a:pt x="412" y="465"/>
                    <a:pt x="411" y="464"/>
                  </a:cubicBezTo>
                  <a:cubicBezTo>
                    <a:pt x="395" y="448"/>
                    <a:pt x="379" y="432"/>
                    <a:pt x="364" y="417"/>
                  </a:cubicBezTo>
                  <a:cubicBezTo>
                    <a:pt x="361" y="414"/>
                    <a:pt x="359" y="413"/>
                    <a:pt x="355" y="416"/>
                  </a:cubicBezTo>
                  <a:cubicBezTo>
                    <a:pt x="338" y="427"/>
                    <a:pt x="320" y="434"/>
                    <a:pt x="300" y="439"/>
                  </a:cubicBezTo>
                  <a:cubicBezTo>
                    <a:pt x="296" y="440"/>
                    <a:pt x="295" y="441"/>
                    <a:pt x="295" y="445"/>
                  </a:cubicBezTo>
                  <a:cubicBezTo>
                    <a:pt x="295" y="467"/>
                    <a:pt x="295" y="489"/>
                    <a:pt x="295" y="511"/>
                  </a:cubicBezTo>
                  <a:cubicBezTo>
                    <a:pt x="295" y="513"/>
                    <a:pt x="295" y="515"/>
                    <a:pt x="295" y="517"/>
                  </a:cubicBezTo>
                  <a:cubicBezTo>
                    <a:pt x="270" y="517"/>
                    <a:pt x="246" y="517"/>
                    <a:pt x="221" y="517"/>
                  </a:cubicBezTo>
                  <a:cubicBezTo>
                    <a:pt x="221" y="515"/>
                    <a:pt x="221" y="513"/>
                    <a:pt x="221" y="511"/>
                  </a:cubicBezTo>
                  <a:cubicBezTo>
                    <a:pt x="221" y="489"/>
                    <a:pt x="221" y="467"/>
                    <a:pt x="221" y="445"/>
                  </a:cubicBezTo>
                  <a:cubicBezTo>
                    <a:pt x="221" y="441"/>
                    <a:pt x="220" y="440"/>
                    <a:pt x="216" y="439"/>
                  </a:cubicBezTo>
                  <a:cubicBezTo>
                    <a:pt x="196" y="434"/>
                    <a:pt x="178" y="427"/>
                    <a:pt x="161" y="416"/>
                  </a:cubicBezTo>
                  <a:cubicBezTo>
                    <a:pt x="160" y="415"/>
                    <a:pt x="158" y="414"/>
                    <a:pt x="156" y="413"/>
                  </a:cubicBezTo>
                  <a:cubicBezTo>
                    <a:pt x="138" y="431"/>
                    <a:pt x="120" y="450"/>
                    <a:pt x="103" y="467"/>
                  </a:cubicBezTo>
                  <a:cubicBezTo>
                    <a:pt x="85" y="450"/>
                    <a:pt x="68" y="432"/>
                    <a:pt x="50" y="415"/>
                  </a:cubicBezTo>
                  <a:cubicBezTo>
                    <a:pt x="68" y="397"/>
                    <a:pt x="86" y="379"/>
                    <a:pt x="103" y="362"/>
                  </a:cubicBezTo>
                  <a:cubicBezTo>
                    <a:pt x="97" y="348"/>
                    <a:pt x="90" y="335"/>
                    <a:pt x="84" y="321"/>
                  </a:cubicBezTo>
                  <a:cubicBezTo>
                    <a:pt x="82" y="315"/>
                    <a:pt x="80" y="308"/>
                    <a:pt x="78" y="301"/>
                  </a:cubicBezTo>
                  <a:cubicBezTo>
                    <a:pt x="77" y="297"/>
                    <a:pt x="76" y="296"/>
                    <a:pt x="72" y="296"/>
                  </a:cubicBezTo>
                  <a:cubicBezTo>
                    <a:pt x="49" y="296"/>
                    <a:pt x="27" y="296"/>
                    <a:pt x="5" y="296"/>
                  </a:cubicBezTo>
                  <a:cubicBezTo>
                    <a:pt x="3" y="296"/>
                    <a:pt x="2" y="296"/>
                    <a:pt x="0" y="296"/>
                  </a:cubicBezTo>
                  <a:cubicBezTo>
                    <a:pt x="0" y="271"/>
                    <a:pt x="0" y="247"/>
                    <a:pt x="0" y="222"/>
                  </a:cubicBezTo>
                  <a:cubicBezTo>
                    <a:pt x="2" y="222"/>
                    <a:pt x="4" y="222"/>
                    <a:pt x="6" y="222"/>
                  </a:cubicBezTo>
                  <a:cubicBezTo>
                    <a:pt x="27" y="222"/>
                    <a:pt x="49" y="222"/>
                    <a:pt x="70" y="222"/>
                  </a:cubicBezTo>
                  <a:cubicBezTo>
                    <a:pt x="75" y="222"/>
                    <a:pt x="77" y="221"/>
                    <a:pt x="79" y="215"/>
                  </a:cubicBezTo>
                  <a:cubicBezTo>
                    <a:pt x="83" y="196"/>
                    <a:pt x="91" y="178"/>
                    <a:pt x="101" y="162"/>
                  </a:cubicBezTo>
                  <a:cubicBezTo>
                    <a:pt x="104" y="158"/>
                    <a:pt x="103" y="156"/>
                    <a:pt x="100" y="153"/>
                  </a:cubicBezTo>
                  <a:cubicBezTo>
                    <a:pt x="84" y="138"/>
                    <a:pt x="69" y="122"/>
                    <a:pt x="54" y="107"/>
                  </a:cubicBezTo>
                  <a:cubicBezTo>
                    <a:pt x="52" y="105"/>
                    <a:pt x="50" y="104"/>
                    <a:pt x="49" y="103"/>
                  </a:cubicBezTo>
                  <a:cubicBezTo>
                    <a:pt x="67" y="85"/>
                    <a:pt x="84" y="68"/>
                    <a:pt x="102" y="50"/>
                  </a:cubicBezTo>
                  <a:close/>
                  <a:moveTo>
                    <a:pt x="258" y="370"/>
                  </a:moveTo>
                  <a:cubicBezTo>
                    <a:pt x="320" y="370"/>
                    <a:pt x="369" y="321"/>
                    <a:pt x="369" y="259"/>
                  </a:cubicBezTo>
                  <a:cubicBezTo>
                    <a:pt x="369" y="196"/>
                    <a:pt x="320" y="148"/>
                    <a:pt x="256" y="148"/>
                  </a:cubicBezTo>
                  <a:cubicBezTo>
                    <a:pt x="196" y="148"/>
                    <a:pt x="147" y="198"/>
                    <a:pt x="147" y="259"/>
                  </a:cubicBezTo>
                  <a:cubicBezTo>
                    <a:pt x="147" y="321"/>
                    <a:pt x="196" y="370"/>
                    <a:pt x="258" y="3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500"/>
            </a:p>
          </p:txBody>
        </p:sp>
      </p:grpSp>
      <p:sp>
        <p:nvSpPr>
          <p:cNvPr id="132" name="TextBox 131">
            <a:extLst>
              <a:ext uri="{FF2B5EF4-FFF2-40B4-BE49-F238E27FC236}">
                <a16:creationId xmlns:a16="http://schemas.microsoft.com/office/drawing/2014/main" xmlns="" id="{93DD4150-7C35-4B10-A7E5-9B9C38B2F9F8}"/>
              </a:ext>
            </a:extLst>
          </p:cNvPr>
          <p:cNvSpPr txBox="1">
            <a:spLocks/>
          </p:cNvSpPr>
          <p:nvPr/>
        </p:nvSpPr>
        <p:spPr>
          <a:xfrm>
            <a:off x="315458" y="5846635"/>
            <a:ext cx="344707" cy="45320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GB" sz="2800" dirty="0">
                <a:solidFill>
                  <a:schemeClr val="tx2"/>
                </a:solidFill>
                <a:latin typeface="Georgia" panose="02040502050405020303" pitchFamily="18" charset="0"/>
              </a:rPr>
              <a:t>4</a:t>
            </a:r>
          </a:p>
        </p:txBody>
      </p:sp>
      <p:pic>
        <p:nvPicPr>
          <p:cNvPr id="97" name="Picture 96">
            <a:extLst>
              <a:ext uri="{FF2B5EF4-FFF2-40B4-BE49-F238E27FC236}">
                <a16:creationId xmlns:a16="http://schemas.microsoft.com/office/drawing/2014/main" xmlns="" id="{E88CA2E9-3837-4368-942D-1270AE9B3037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564" r="33959"/>
          <a:stretch/>
        </p:blipFill>
        <p:spPr>
          <a:xfrm>
            <a:off x="4407780" y="511767"/>
            <a:ext cx="2643698" cy="5980951"/>
          </a:xfrm>
          <a:prstGeom prst="rect">
            <a:avLst/>
          </a:prstGeom>
        </p:spPr>
      </p:pic>
      <p:grpSp>
        <p:nvGrpSpPr>
          <p:cNvPr id="145" name="Group 98">
            <a:extLst>
              <a:ext uri="{FF2B5EF4-FFF2-40B4-BE49-F238E27FC236}">
                <a16:creationId xmlns:a16="http://schemas.microsoft.com/office/drawing/2014/main" xmlns="" id="{3AFD6BB6-248A-4C6A-9439-843C2BE9D36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28669" y="2282776"/>
            <a:ext cx="405159" cy="317817"/>
            <a:chOff x="2296" y="1704"/>
            <a:chExt cx="1053" cy="826"/>
          </a:xfrm>
          <a:solidFill>
            <a:schemeClr val="accent4"/>
          </a:solidFill>
        </p:grpSpPr>
        <p:sp>
          <p:nvSpPr>
            <p:cNvPr id="146" name="Freeform 99">
              <a:extLst>
                <a:ext uri="{FF2B5EF4-FFF2-40B4-BE49-F238E27FC236}">
                  <a16:creationId xmlns:a16="http://schemas.microsoft.com/office/drawing/2014/main" xmlns="" id="{00DCACD3-F768-4FBE-8626-CA4389715F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96" y="1704"/>
              <a:ext cx="1053" cy="826"/>
            </a:xfrm>
            <a:custGeom>
              <a:avLst/>
              <a:gdLst>
                <a:gd name="T0" fmla="*/ 0 w 595"/>
                <a:gd name="T1" fmla="*/ 398 h 465"/>
                <a:gd name="T2" fmla="*/ 0 w 595"/>
                <a:gd name="T3" fmla="*/ 67 h 465"/>
                <a:gd name="T4" fmla="*/ 84 w 595"/>
                <a:gd name="T5" fmla="*/ 0 h 465"/>
                <a:gd name="T6" fmla="*/ 577 w 595"/>
                <a:gd name="T7" fmla="*/ 0 h 465"/>
                <a:gd name="T8" fmla="*/ 595 w 595"/>
                <a:gd name="T9" fmla="*/ 4 h 465"/>
                <a:gd name="T10" fmla="*/ 595 w 595"/>
                <a:gd name="T11" fmla="*/ 461 h 465"/>
                <a:gd name="T12" fmla="*/ 573 w 595"/>
                <a:gd name="T13" fmla="*/ 465 h 465"/>
                <a:gd name="T14" fmla="*/ 90 w 595"/>
                <a:gd name="T15" fmla="*/ 465 h 465"/>
                <a:gd name="T16" fmla="*/ 73 w 595"/>
                <a:gd name="T17" fmla="*/ 465 h 465"/>
                <a:gd name="T18" fmla="*/ 13 w 595"/>
                <a:gd name="T19" fmla="*/ 430 h 465"/>
                <a:gd name="T20" fmla="*/ 0 w 595"/>
                <a:gd name="T21" fmla="*/ 398 h 465"/>
                <a:gd name="T22" fmla="*/ 129 w 595"/>
                <a:gd name="T23" fmla="*/ 18 h 465"/>
                <a:gd name="T24" fmla="*/ 157 w 595"/>
                <a:gd name="T25" fmla="*/ 90 h 465"/>
                <a:gd name="T26" fmla="*/ 157 w 595"/>
                <a:gd name="T27" fmla="*/ 356 h 465"/>
                <a:gd name="T28" fmla="*/ 129 w 595"/>
                <a:gd name="T29" fmla="*/ 446 h 465"/>
                <a:gd name="T30" fmla="*/ 575 w 595"/>
                <a:gd name="T31" fmla="*/ 446 h 465"/>
                <a:gd name="T32" fmla="*/ 575 w 595"/>
                <a:gd name="T33" fmla="*/ 18 h 465"/>
                <a:gd name="T34" fmla="*/ 129 w 595"/>
                <a:gd name="T35" fmla="*/ 18 h 465"/>
                <a:gd name="T36" fmla="*/ 18 w 595"/>
                <a:gd name="T37" fmla="*/ 335 h 465"/>
                <a:gd name="T38" fmla="*/ 139 w 595"/>
                <a:gd name="T39" fmla="*/ 334 h 465"/>
                <a:gd name="T40" fmla="*/ 139 w 595"/>
                <a:gd name="T41" fmla="*/ 324 h 465"/>
                <a:gd name="T42" fmla="*/ 139 w 595"/>
                <a:gd name="T43" fmla="*/ 82 h 465"/>
                <a:gd name="T44" fmla="*/ 78 w 595"/>
                <a:gd name="T45" fmla="*/ 18 h 465"/>
                <a:gd name="T46" fmla="*/ 18 w 595"/>
                <a:gd name="T47" fmla="*/ 83 h 465"/>
                <a:gd name="T48" fmla="*/ 18 w 595"/>
                <a:gd name="T49" fmla="*/ 321 h 465"/>
                <a:gd name="T50" fmla="*/ 18 w 595"/>
                <a:gd name="T51" fmla="*/ 335 h 465"/>
                <a:gd name="T52" fmla="*/ 78 w 595"/>
                <a:gd name="T53" fmla="*/ 327 h 465"/>
                <a:gd name="T54" fmla="*/ 18 w 595"/>
                <a:gd name="T55" fmla="*/ 387 h 465"/>
                <a:gd name="T56" fmla="*/ 79 w 595"/>
                <a:gd name="T57" fmla="*/ 447 h 465"/>
                <a:gd name="T58" fmla="*/ 139 w 595"/>
                <a:gd name="T59" fmla="*/ 387 h 465"/>
                <a:gd name="T60" fmla="*/ 78 w 595"/>
                <a:gd name="T61" fmla="*/ 327 h 4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95" h="465">
                  <a:moveTo>
                    <a:pt x="0" y="398"/>
                  </a:moveTo>
                  <a:cubicBezTo>
                    <a:pt x="0" y="288"/>
                    <a:pt x="0" y="177"/>
                    <a:pt x="0" y="67"/>
                  </a:cubicBezTo>
                  <a:cubicBezTo>
                    <a:pt x="16" y="18"/>
                    <a:pt x="39" y="0"/>
                    <a:pt x="84" y="0"/>
                  </a:cubicBezTo>
                  <a:cubicBezTo>
                    <a:pt x="249" y="0"/>
                    <a:pt x="413" y="0"/>
                    <a:pt x="577" y="0"/>
                  </a:cubicBezTo>
                  <a:cubicBezTo>
                    <a:pt x="583" y="0"/>
                    <a:pt x="589" y="2"/>
                    <a:pt x="595" y="4"/>
                  </a:cubicBezTo>
                  <a:cubicBezTo>
                    <a:pt x="595" y="156"/>
                    <a:pt x="595" y="309"/>
                    <a:pt x="595" y="461"/>
                  </a:cubicBezTo>
                  <a:cubicBezTo>
                    <a:pt x="587" y="463"/>
                    <a:pt x="580" y="465"/>
                    <a:pt x="573" y="465"/>
                  </a:cubicBezTo>
                  <a:cubicBezTo>
                    <a:pt x="412" y="465"/>
                    <a:pt x="251" y="465"/>
                    <a:pt x="90" y="465"/>
                  </a:cubicBezTo>
                  <a:cubicBezTo>
                    <a:pt x="84" y="465"/>
                    <a:pt x="78" y="465"/>
                    <a:pt x="73" y="465"/>
                  </a:cubicBezTo>
                  <a:cubicBezTo>
                    <a:pt x="47" y="463"/>
                    <a:pt x="27" y="451"/>
                    <a:pt x="13" y="430"/>
                  </a:cubicBezTo>
                  <a:cubicBezTo>
                    <a:pt x="7" y="421"/>
                    <a:pt x="4" y="409"/>
                    <a:pt x="0" y="398"/>
                  </a:cubicBezTo>
                  <a:close/>
                  <a:moveTo>
                    <a:pt x="129" y="18"/>
                  </a:moveTo>
                  <a:cubicBezTo>
                    <a:pt x="152" y="39"/>
                    <a:pt x="157" y="63"/>
                    <a:pt x="157" y="90"/>
                  </a:cubicBezTo>
                  <a:cubicBezTo>
                    <a:pt x="157" y="178"/>
                    <a:pt x="157" y="267"/>
                    <a:pt x="157" y="356"/>
                  </a:cubicBezTo>
                  <a:cubicBezTo>
                    <a:pt x="157" y="388"/>
                    <a:pt x="160" y="421"/>
                    <a:pt x="129" y="446"/>
                  </a:cubicBezTo>
                  <a:cubicBezTo>
                    <a:pt x="280" y="446"/>
                    <a:pt x="428" y="446"/>
                    <a:pt x="575" y="446"/>
                  </a:cubicBezTo>
                  <a:cubicBezTo>
                    <a:pt x="575" y="303"/>
                    <a:pt x="575" y="161"/>
                    <a:pt x="575" y="18"/>
                  </a:cubicBezTo>
                  <a:cubicBezTo>
                    <a:pt x="427" y="18"/>
                    <a:pt x="280" y="18"/>
                    <a:pt x="129" y="18"/>
                  </a:cubicBezTo>
                  <a:close/>
                  <a:moveTo>
                    <a:pt x="18" y="335"/>
                  </a:moveTo>
                  <a:cubicBezTo>
                    <a:pt x="60" y="298"/>
                    <a:pt x="99" y="300"/>
                    <a:pt x="139" y="334"/>
                  </a:cubicBezTo>
                  <a:cubicBezTo>
                    <a:pt x="139" y="330"/>
                    <a:pt x="139" y="327"/>
                    <a:pt x="139" y="324"/>
                  </a:cubicBezTo>
                  <a:cubicBezTo>
                    <a:pt x="139" y="244"/>
                    <a:pt x="139" y="163"/>
                    <a:pt x="139" y="82"/>
                  </a:cubicBezTo>
                  <a:cubicBezTo>
                    <a:pt x="139" y="46"/>
                    <a:pt x="112" y="18"/>
                    <a:pt x="78" y="18"/>
                  </a:cubicBezTo>
                  <a:cubicBezTo>
                    <a:pt x="44" y="18"/>
                    <a:pt x="18" y="45"/>
                    <a:pt x="18" y="83"/>
                  </a:cubicBezTo>
                  <a:cubicBezTo>
                    <a:pt x="18" y="162"/>
                    <a:pt x="18" y="241"/>
                    <a:pt x="18" y="321"/>
                  </a:cubicBezTo>
                  <a:cubicBezTo>
                    <a:pt x="18" y="325"/>
                    <a:pt x="18" y="328"/>
                    <a:pt x="18" y="335"/>
                  </a:cubicBezTo>
                  <a:close/>
                  <a:moveTo>
                    <a:pt x="78" y="327"/>
                  </a:moveTo>
                  <a:cubicBezTo>
                    <a:pt x="45" y="327"/>
                    <a:pt x="18" y="354"/>
                    <a:pt x="18" y="387"/>
                  </a:cubicBezTo>
                  <a:cubicBezTo>
                    <a:pt x="18" y="420"/>
                    <a:pt x="46" y="448"/>
                    <a:pt x="79" y="447"/>
                  </a:cubicBezTo>
                  <a:cubicBezTo>
                    <a:pt x="111" y="447"/>
                    <a:pt x="139" y="419"/>
                    <a:pt x="139" y="387"/>
                  </a:cubicBezTo>
                  <a:cubicBezTo>
                    <a:pt x="140" y="354"/>
                    <a:pt x="112" y="326"/>
                    <a:pt x="78" y="3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500"/>
            </a:p>
          </p:txBody>
        </p:sp>
        <p:sp>
          <p:nvSpPr>
            <p:cNvPr id="147" name="Freeform 100">
              <a:extLst>
                <a:ext uri="{FF2B5EF4-FFF2-40B4-BE49-F238E27FC236}">
                  <a16:creationId xmlns:a16="http://schemas.microsoft.com/office/drawing/2014/main" xmlns="" id="{939303B6-E722-47EB-BEA4-2AECCC1D5B7B}"/>
                </a:ext>
              </a:extLst>
            </p:cNvPr>
            <p:cNvSpPr>
              <a:spLocks/>
            </p:cNvSpPr>
            <p:nvPr/>
          </p:nvSpPr>
          <p:spPr bwMode="auto">
            <a:xfrm>
              <a:off x="2689" y="2077"/>
              <a:ext cx="409" cy="364"/>
            </a:xfrm>
            <a:custGeom>
              <a:avLst/>
              <a:gdLst>
                <a:gd name="T0" fmla="*/ 181 w 231"/>
                <a:gd name="T1" fmla="*/ 33 h 205"/>
                <a:gd name="T2" fmla="*/ 163 w 231"/>
                <a:gd name="T3" fmla="*/ 51 h 205"/>
                <a:gd name="T4" fmla="*/ 148 w 231"/>
                <a:gd name="T5" fmla="*/ 53 h 205"/>
                <a:gd name="T6" fmla="*/ 151 w 231"/>
                <a:gd name="T7" fmla="*/ 39 h 205"/>
                <a:gd name="T8" fmla="*/ 183 w 231"/>
                <a:gd name="T9" fmla="*/ 6 h 205"/>
                <a:gd name="T10" fmla="*/ 201 w 231"/>
                <a:gd name="T11" fmla="*/ 6 h 205"/>
                <a:gd name="T12" fmla="*/ 228 w 231"/>
                <a:gd name="T13" fmla="*/ 34 h 205"/>
                <a:gd name="T14" fmla="*/ 230 w 231"/>
                <a:gd name="T15" fmla="*/ 49 h 205"/>
                <a:gd name="T16" fmla="*/ 216 w 231"/>
                <a:gd name="T17" fmla="*/ 46 h 205"/>
                <a:gd name="T18" fmla="*/ 205 w 231"/>
                <a:gd name="T19" fmla="*/ 33 h 205"/>
                <a:gd name="T20" fmla="*/ 187 w 231"/>
                <a:gd name="T21" fmla="*/ 90 h 205"/>
                <a:gd name="T22" fmla="*/ 18 w 231"/>
                <a:gd name="T23" fmla="*/ 205 h 205"/>
                <a:gd name="T24" fmla="*/ 3 w 231"/>
                <a:gd name="T25" fmla="*/ 197 h 205"/>
                <a:gd name="T26" fmla="*/ 15 w 231"/>
                <a:gd name="T27" fmla="*/ 188 h 205"/>
                <a:gd name="T28" fmla="*/ 178 w 231"/>
                <a:gd name="T29" fmla="*/ 62 h 205"/>
                <a:gd name="T30" fmla="*/ 184 w 231"/>
                <a:gd name="T31" fmla="*/ 35 h 205"/>
                <a:gd name="T32" fmla="*/ 181 w 231"/>
                <a:gd name="T33" fmla="*/ 33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1" h="205">
                  <a:moveTo>
                    <a:pt x="181" y="33"/>
                  </a:moveTo>
                  <a:cubicBezTo>
                    <a:pt x="175" y="39"/>
                    <a:pt x="170" y="46"/>
                    <a:pt x="163" y="51"/>
                  </a:cubicBezTo>
                  <a:cubicBezTo>
                    <a:pt x="160" y="54"/>
                    <a:pt x="153" y="53"/>
                    <a:pt x="148" y="53"/>
                  </a:cubicBezTo>
                  <a:cubicBezTo>
                    <a:pt x="149" y="49"/>
                    <a:pt x="148" y="42"/>
                    <a:pt x="151" y="39"/>
                  </a:cubicBezTo>
                  <a:cubicBezTo>
                    <a:pt x="161" y="27"/>
                    <a:pt x="172" y="17"/>
                    <a:pt x="183" y="6"/>
                  </a:cubicBezTo>
                  <a:cubicBezTo>
                    <a:pt x="189" y="0"/>
                    <a:pt x="195" y="0"/>
                    <a:pt x="201" y="6"/>
                  </a:cubicBezTo>
                  <a:cubicBezTo>
                    <a:pt x="210" y="16"/>
                    <a:pt x="220" y="24"/>
                    <a:pt x="228" y="34"/>
                  </a:cubicBezTo>
                  <a:cubicBezTo>
                    <a:pt x="231" y="37"/>
                    <a:pt x="230" y="44"/>
                    <a:pt x="230" y="49"/>
                  </a:cubicBezTo>
                  <a:cubicBezTo>
                    <a:pt x="225" y="48"/>
                    <a:pt x="220" y="48"/>
                    <a:pt x="216" y="46"/>
                  </a:cubicBezTo>
                  <a:cubicBezTo>
                    <a:pt x="211" y="44"/>
                    <a:pt x="209" y="38"/>
                    <a:pt x="205" y="33"/>
                  </a:cubicBezTo>
                  <a:cubicBezTo>
                    <a:pt x="198" y="54"/>
                    <a:pt x="195" y="73"/>
                    <a:pt x="187" y="90"/>
                  </a:cubicBezTo>
                  <a:cubicBezTo>
                    <a:pt x="153" y="161"/>
                    <a:pt x="97" y="200"/>
                    <a:pt x="18" y="205"/>
                  </a:cubicBezTo>
                  <a:cubicBezTo>
                    <a:pt x="13" y="205"/>
                    <a:pt x="4" y="201"/>
                    <a:pt x="3" y="197"/>
                  </a:cubicBezTo>
                  <a:cubicBezTo>
                    <a:pt x="0" y="188"/>
                    <a:pt x="9" y="188"/>
                    <a:pt x="15" y="188"/>
                  </a:cubicBezTo>
                  <a:cubicBezTo>
                    <a:pt x="93" y="184"/>
                    <a:pt x="156" y="135"/>
                    <a:pt x="178" y="62"/>
                  </a:cubicBezTo>
                  <a:cubicBezTo>
                    <a:pt x="181" y="53"/>
                    <a:pt x="182" y="44"/>
                    <a:pt x="184" y="35"/>
                  </a:cubicBezTo>
                  <a:cubicBezTo>
                    <a:pt x="183" y="34"/>
                    <a:pt x="182" y="34"/>
                    <a:pt x="181" y="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500"/>
            </a:p>
          </p:txBody>
        </p:sp>
        <p:sp>
          <p:nvSpPr>
            <p:cNvPr id="148" name="Freeform 101">
              <a:extLst>
                <a:ext uri="{FF2B5EF4-FFF2-40B4-BE49-F238E27FC236}">
                  <a16:creationId xmlns:a16="http://schemas.microsoft.com/office/drawing/2014/main" xmlns="" id="{D6D4D386-7161-4CA8-92FA-767316682D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37" y="1809"/>
              <a:ext cx="217" cy="218"/>
            </a:xfrm>
            <a:custGeom>
              <a:avLst/>
              <a:gdLst>
                <a:gd name="T0" fmla="*/ 61 w 123"/>
                <a:gd name="T1" fmla="*/ 123 h 123"/>
                <a:gd name="T2" fmla="*/ 0 w 123"/>
                <a:gd name="T3" fmla="*/ 62 h 123"/>
                <a:gd name="T4" fmla="*/ 63 w 123"/>
                <a:gd name="T5" fmla="*/ 0 h 123"/>
                <a:gd name="T6" fmla="*/ 123 w 123"/>
                <a:gd name="T7" fmla="*/ 63 h 123"/>
                <a:gd name="T8" fmla="*/ 61 w 123"/>
                <a:gd name="T9" fmla="*/ 123 h 123"/>
                <a:gd name="T10" fmla="*/ 62 w 123"/>
                <a:gd name="T11" fmla="*/ 105 h 123"/>
                <a:gd name="T12" fmla="*/ 105 w 123"/>
                <a:gd name="T13" fmla="*/ 62 h 123"/>
                <a:gd name="T14" fmla="*/ 62 w 123"/>
                <a:gd name="T15" fmla="*/ 19 h 123"/>
                <a:gd name="T16" fmla="*/ 19 w 123"/>
                <a:gd name="T17" fmla="*/ 62 h 123"/>
                <a:gd name="T18" fmla="*/ 62 w 123"/>
                <a:gd name="T19" fmla="*/ 105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3" h="123">
                  <a:moveTo>
                    <a:pt x="61" y="123"/>
                  </a:moveTo>
                  <a:cubicBezTo>
                    <a:pt x="28" y="122"/>
                    <a:pt x="1" y="96"/>
                    <a:pt x="0" y="62"/>
                  </a:cubicBezTo>
                  <a:cubicBezTo>
                    <a:pt x="0" y="28"/>
                    <a:pt x="29" y="0"/>
                    <a:pt x="63" y="0"/>
                  </a:cubicBezTo>
                  <a:cubicBezTo>
                    <a:pt x="96" y="1"/>
                    <a:pt x="123" y="29"/>
                    <a:pt x="123" y="63"/>
                  </a:cubicBezTo>
                  <a:cubicBezTo>
                    <a:pt x="122" y="97"/>
                    <a:pt x="96" y="123"/>
                    <a:pt x="61" y="123"/>
                  </a:cubicBezTo>
                  <a:close/>
                  <a:moveTo>
                    <a:pt x="62" y="105"/>
                  </a:moveTo>
                  <a:cubicBezTo>
                    <a:pt x="85" y="105"/>
                    <a:pt x="105" y="85"/>
                    <a:pt x="105" y="62"/>
                  </a:cubicBezTo>
                  <a:cubicBezTo>
                    <a:pt x="105" y="39"/>
                    <a:pt x="86" y="19"/>
                    <a:pt x="62" y="19"/>
                  </a:cubicBezTo>
                  <a:cubicBezTo>
                    <a:pt x="38" y="19"/>
                    <a:pt x="18" y="38"/>
                    <a:pt x="19" y="62"/>
                  </a:cubicBezTo>
                  <a:cubicBezTo>
                    <a:pt x="19" y="85"/>
                    <a:pt x="39" y="105"/>
                    <a:pt x="62" y="10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500"/>
            </a:p>
          </p:txBody>
        </p:sp>
        <p:sp>
          <p:nvSpPr>
            <p:cNvPr id="149" name="Freeform 102">
              <a:extLst>
                <a:ext uri="{FF2B5EF4-FFF2-40B4-BE49-F238E27FC236}">
                  <a16:creationId xmlns:a16="http://schemas.microsoft.com/office/drawing/2014/main" xmlns="" id="{B0AA97C7-F664-4C11-B666-82B70D52ED36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5" y="2164"/>
              <a:ext cx="193" cy="196"/>
            </a:xfrm>
            <a:custGeom>
              <a:avLst/>
              <a:gdLst>
                <a:gd name="T0" fmla="*/ 66 w 109"/>
                <a:gd name="T1" fmla="*/ 55 h 110"/>
                <a:gd name="T2" fmla="*/ 99 w 109"/>
                <a:gd name="T3" fmla="*/ 88 h 110"/>
                <a:gd name="T4" fmla="*/ 102 w 109"/>
                <a:gd name="T5" fmla="*/ 103 h 110"/>
                <a:gd name="T6" fmla="*/ 87 w 109"/>
                <a:gd name="T7" fmla="*/ 101 h 110"/>
                <a:gd name="T8" fmla="*/ 54 w 109"/>
                <a:gd name="T9" fmla="*/ 68 h 110"/>
                <a:gd name="T10" fmla="*/ 22 w 109"/>
                <a:gd name="T11" fmla="*/ 100 h 110"/>
                <a:gd name="T12" fmla="*/ 7 w 109"/>
                <a:gd name="T13" fmla="*/ 104 h 110"/>
                <a:gd name="T14" fmla="*/ 9 w 109"/>
                <a:gd name="T15" fmla="*/ 88 h 110"/>
                <a:gd name="T16" fmla="*/ 42 w 109"/>
                <a:gd name="T17" fmla="*/ 55 h 110"/>
                <a:gd name="T18" fmla="*/ 9 w 109"/>
                <a:gd name="T19" fmla="*/ 23 h 110"/>
                <a:gd name="T20" fmla="*/ 6 w 109"/>
                <a:gd name="T21" fmla="*/ 7 h 110"/>
                <a:gd name="T22" fmla="*/ 21 w 109"/>
                <a:gd name="T23" fmla="*/ 10 h 110"/>
                <a:gd name="T24" fmla="*/ 55 w 109"/>
                <a:gd name="T25" fmla="*/ 44 h 110"/>
                <a:gd name="T26" fmla="*/ 86 w 109"/>
                <a:gd name="T27" fmla="*/ 11 h 110"/>
                <a:gd name="T28" fmla="*/ 101 w 109"/>
                <a:gd name="T29" fmla="*/ 7 h 110"/>
                <a:gd name="T30" fmla="*/ 99 w 109"/>
                <a:gd name="T31" fmla="*/ 23 h 110"/>
                <a:gd name="T32" fmla="*/ 66 w 109"/>
                <a:gd name="T33" fmla="*/ 55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9" h="110">
                  <a:moveTo>
                    <a:pt x="66" y="55"/>
                  </a:moveTo>
                  <a:cubicBezTo>
                    <a:pt x="78" y="68"/>
                    <a:pt x="89" y="77"/>
                    <a:pt x="99" y="88"/>
                  </a:cubicBezTo>
                  <a:cubicBezTo>
                    <a:pt x="102" y="92"/>
                    <a:pt x="104" y="100"/>
                    <a:pt x="102" y="103"/>
                  </a:cubicBezTo>
                  <a:cubicBezTo>
                    <a:pt x="97" y="110"/>
                    <a:pt x="91" y="106"/>
                    <a:pt x="87" y="101"/>
                  </a:cubicBezTo>
                  <a:cubicBezTo>
                    <a:pt x="76" y="91"/>
                    <a:pt x="66" y="80"/>
                    <a:pt x="54" y="68"/>
                  </a:cubicBezTo>
                  <a:cubicBezTo>
                    <a:pt x="43" y="80"/>
                    <a:pt x="33" y="91"/>
                    <a:pt x="22" y="100"/>
                  </a:cubicBezTo>
                  <a:cubicBezTo>
                    <a:pt x="18" y="104"/>
                    <a:pt x="9" y="106"/>
                    <a:pt x="7" y="104"/>
                  </a:cubicBezTo>
                  <a:cubicBezTo>
                    <a:pt x="0" y="99"/>
                    <a:pt x="4" y="93"/>
                    <a:pt x="9" y="88"/>
                  </a:cubicBezTo>
                  <a:cubicBezTo>
                    <a:pt x="20" y="77"/>
                    <a:pt x="30" y="67"/>
                    <a:pt x="42" y="55"/>
                  </a:cubicBezTo>
                  <a:cubicBezTo>
                    <a:pt x="30" y="44"/>
                    <a:pt x="19" y="34"/>
                    <a:pt x="9" y="23"/>
                  </a:cubicBezTo>
                  <a:cubicBezTo>
                    <a:pt x="6" y="19"/>
                    <a:pt x="4" y="11"/>
                    <a:pt x="6" y="7"/>
                  </a:cubicBezTo>
                  <a:cubicBezTo>
                    <a:pt x="11" y="0"/>
                    <a:pt x="17" y="5"/>
                    <a:pt x="21" y="10"/>
                  </a:cubicBezTo>
                  <a:cubicBezTo>
                    <a:pt x="32" y="20"/>
                    <a:pt x="42" y="31"/>
                    <a:pt x="55" y="44"/>
                  </a:cubicBezTo>
                  <a:cubicBezTo>
                    <a:pt x="66" y="32"/>
                    <a:pt x="75" y="21"/>
                    <a:pt x="86" y="11"/>
                  </a:cubicBezTo>
                  <a:cubicBezTo>
                    <a:pt x="90" y="8"/>
                    <a:pt x="98" y="5"/>
                    <a:pt x="101" y="7"/>
                  </a:cubicBezTo>
                  <a:cubicBezTo>
                    <a:pt x="109" y="12"/>
                    <a:pt x="104" y="18"/>
                    <a:pt x="99" y="23"/>
                  </a:cubicBezTo>
                  <a:cubicBezTo>
                    <a:pt x="88" y="34"/>
                    <a:pt x="77" y="44"/>
                    <a:pt x="66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500"/>
            </a:p>
          </p:txBody>
        </p:sp>
        <p:sp>
          <p:nvSpPr>
            <p:cNvPr id="150" name="Freeform 103">
              <a:extLst>
                <a:ext uri="{FF2B5EF4-FFF2-40B4-BE49-F238E27FC236}">
                  <a16:creationId xmlns:a16="http://schemas.microsoft.com/office/drawing/2014/main" xmlns="" id="{B1451094-7A1C-4184-8C90-2DDC929A6A44}"/>
                </a:ext>
              </a:extLst>
            </p:cNvPr>
            <p:cNvSpPr>
              <a:spLocks/>
            </p:cNvSpPr>
            <p:nvPr/>
          </p:nvSpPr>
          <p:spPr bwMode="auto">
            <a:xfrm>
              <a:off x="3080" y="2253"/>
              <a:ext cx="195" cy="195"/>
            </a:xfrm>
            <a:custGeom>
              <a:avLst/>
              <a:gdLst>
                <a:gd name="T0" fmla="*/ 67 w 110"/>
                <a:gd name="T1" fmla="*/ 55 h 110"/>
                <a:gd name="T2" fmla="*/ 101 w 110"/>
                <a:gd name="T3" fmla="*/ 88 h 110"/>
                <a:gd name="T4" fmla="*/ 103 w 110"/>
                <a:gd name="T5" fmla="*/ 103 h 110"/>
                <a:gd name="T6" fmla="*/ 88 w 110"/>
                <a:gd name="T7" fmla="*/ 100 h 110"/>
                <a:gd name="T8" fmla="*/ 55 w 110"/>
                <a:gd name="T9" fmla="*/ 66 h 110"/>
                <a:gd name="T10" fmla="*/ 23 w 110"/>
                <a:gd name="T11" fmla="*/ 100 h 110"/>
                <a:gd name="T12" fmla="*/ 7 w 110"/>
                <a:gd name="T13" fmla="*/ 103 h 110"/>
                <a:gd name="T14" fmla="*/ 10 w 110"/>
                <a:gd name="T15" fmla="*/ 88 h 110"/>
                <a:gd name="T16" fmla="*/ 44 w 110"/>
                <a:gd name="T17" fmla="*/ 55 h 110"/>
                <a:gd name="T18" fmla="*/ 10 w 110"/>
                <a:gd name="T19" fmla="*/ 23 h 110"/>
                <a:gd name="T20" fmla="*/ 7 w 110"/>
                <a:gd name="T21" fmla="*/ 7 h 110"/>
                <a:gd name="T22" fmla="*/ 22 w 110"/>
                <a:gd name="T23" fmla="*/ 10 h 110"/>
                <a:gd name="T24" fmla="*/ 56 w 110"/>
                <a:gd name="T25" fmla="*/ 45 h 110"/>
                <a:gd name="T26" fmla="*/ 87 w 110"/>
                <a:gd name="T27" fmla="*/ 10 h 110"/>
                <a:gd name="T28" fmla="*/ 104 w 110"/>
                <a:gd name="T29" fmla="*/ 8 h 110"/>
                <a:gd name="T30" fmla="*/ 100 w 110"/>
                <a:gd name="T31" fmla="*/ 23 h 110"/>
                <a:gd name="T32" fmla="*/ 67 w 110"/>
                <a:gd name="T33" fmla="*/ 55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0" h="110">
                  <a:moveTo>
                    <a:pt x="67" y="55"/>
                  </a:moveTo>
                  <a:cubicBezTo>
                    <a:pt x="79" y="67"/>
                    <a:pt x="90" y="78"/>
                    <a:pt x="101" y="88"/>
                  </a:cubicBezTo>
                  <a:cubicBezTo>
                    <a:pt x="106" y="93"/>
                    <a:pt x="110" y="99"/>
                    <a:pt x="103" y="103"/>
                  </a:cubicBezTo>
                  <a:cubicBezTo>
                    <a:pt x="100" y="105"/>
                    <a:pt x="91" y="103"/>
                    <a:pt x="88" y="100"/>
                  </a:cubicBezTo>
                  <a:cubicBezTo>
                    <a:pt x="77" y="90"/>
                    <a:pt x="67" y="79"/>
                    <a:pt x="55" y="66"/>
                  </a:cubicBezTo>
                  <a:cubicBezTo>
                    <a:pt x="43" y="78"/>
                    <a:pt x="33" y="89"/>
                    <a:pt x="23" y="100"/>
                  </a:cubicBezTo>
                  <a:cubicBezTo>
                    <a:pt x="18" y="106"/>
                    <a:pt x="12" y="110"/>
                    <a:pt x="7" y="103"/>
                  </a:cubicBezTo>
                  <a:cubicBezTo>
                    <a:pt x="5" y="100"/>
                    <a:pt x="7" y="91"/>
                    <a:pt x="10" y="88"/>
                  </a:cubicBezTo>
                  <a:cubicBezTo>
                    <a:pt x="20" y="77"/>
                    <a:pt x="31" y="67"/>
                    <a:pt x="44" y="55"/>
                  </a:cubicBezTo>
                  <a:cubicBezTo>
                    <a:pt x="32" y="44"/>
                    <a:pt x="21" y="33"/>
                    <a:pt x="10" y="23"/>
                  </a:cubicBezTo>
                  <a:cubicBezTo>
                    <a:pt x="5" y="18"/>
                    <a:pt x="0" y="12"/>
                    <a:pt x="7" y="7"/>
                  </a:cubicBezTo>
                  <a:cubicBezTo>
                    <a:pt x="11" y="5"/>
                    <a:pt x="19" y="7"/>
                    <a:pt x="22" y="10"/>
                  </a:cubicBezTo>
                  <a:cubicBezTo>
                    <a:pt x="33" y="20"/>
                    <a:pt x="43" y="32"/>
                    <a:pt x="56" y="45"/>
                  </a:cubicBezTo>
                  <a:cubicBezTo>
                    <a:pt x="67" y="32"/>
                    <a:pt x="77" y="21"/>
                    <a:pt x="87" y="10"/>
                  </a:cubicBezTo>
                  <a:cubicBezTo>
                    <a:pt x="92" y="5"/>
                    <a:pt x="98" y="0"/>
                    <a:pt x="104" y="8"/>
                  </a:cubicBezTo>
                  <a:cubicBezTo>
                    <a:pt x="106" y="11"/>
                    <a:pt x="103" y="19"/>
                    <a:pt x="100" y="23"/>
                  </a:cubicBezTo>
                  <a:cubicBezTo>
                    <a:pt x="90" y="34"/>
                    <a:pt x="79" y="43"/>
                    <a:pt x="6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500"/>
            </a:p>
          </p:txBody>
        </p:sp>
        <p:sp>
          <p:nvSpPr>
            <p:cNvPr id="151" name="Freeform 104">
              <a:extLst>
                <a:ext uri="{FF2B5EF4-FFF2-40B4-BE49-F238E27FC236}">
                  <a16:creationId xmlns:a16="http://schemas.microsoft.com/office/drawing/2014/main" xmlns="" id="{6A5D030A-8867-428F-8388-8126C3510A2D}"/>
                </a:ext>
              </a:extLst>
            </p:cNvPr>
            <p:cNvSpPr>
              <a:spLocks/>
            </p:cNvSpPr>
            <p:nvPr/>
          </p:nvSpPr>
          <p:spPr bwMode="auto">
            <a:xfrm>
              <a:off x="2659" y="1786"/>
              <a:ext cx="194" cy="195"/>
            </a:xfrm>
            <a:custGeom>
              <a:avLst/>
              <a:gdLst>
                <a:gd name="T0" fmla="*/ 66 w 110"/>
                <a:gd name="T1" fmla="*/ 55 h 110"/>
                <a:gd name="T2" fmla="*/ 100 w 110"/>
                <a:gd name="T3" fmla="*/ 87 h 110"/>
                <a:gd name="T4" fmla="*/ 103 w 110"/>
                <a:gd name="T5" fmla="*/ 103 h 110"/>
                <a:gd name="T6" fmla="*/ 88 w 110"/>
                <a:gd name="T7" fmla="*/ 100 h 110"/>
                <a:gd name="T8" fmla="*/ 54 w 110"/>
                <a:gd name="T9" fmla="*/ 66 h 110"/>
                <a:gd name="T10" fmla="*/ 23 w 110"/>
                <a:gd name="T11" fmla="*/ 100 h 110"/>
                <a:gd name="T12" fmla="*/ 7 w 110"/>
                <a:gd name="T13" fmla="*/ 102 h 110"/>
                <a:gd name="T14" fmla="*/ 10 w 110"/>
                <a:gd name="T15" fmla="*/ 87 h 110"/>
                <a:gd name="T16" fmla="*/ 45 w 110"/>
                <a:gd name="T17" fmla="*/ 55 h 110"/>
                <a:gd name="T18" fmla="*/ 10 w 110"/>
                <a:gd name="T19" fmla="*/ 22 h 110"/>
                <a:gd name="T20" fmla="*/ 6 w 110"/>
                <a:gd name="T21" fmla="*/ 7 h 110"/>
                <a:gd name="T22" fmla="*/ 23 w 110"/>
                <a:gd name="T23" fmla="*/ 10 h 110"/>
                <a:gd name="T24" fmla="*/ 55 w 110"/>
                <a:gd name="T25" fmla="*/ 43 h 110"/>
                <a:gd name="T26" fmla="*/ 87 w 110"/>
                <a:gd name="T27" fmla="*/ 10 h 110"/>
                <a:gd name="T28" fmla="*/ 103 w 110"/>
                <a:gd name="T29" fmla="*/ 6 h 110"/>
                <a:gd name="T30" fmla="*/ 100 w 110"/>
                <a:gd name="T31" fmla="*/ 23 h 110"/>
                <a:gd name="T32" fmla="*/ 66 w 110"/>
                <a:gd name="T33" fmla="*/ 55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0" h="110">
                  <a:moveTo>
                    <a:pt x="66" y="55"/>
                  </a:moveTo>
                  <a:cubicBezTo>
                    <a:pt x="79" y="67"/>
                    <a:pt x="90" y="77"/>
                    <a:pt x="100" y="87"/>
                  </a:cubicBezTo>
                  <a:cubicBezTo>
                    <a:pt x="105" y="92"/>
                    <a:pt x="110" y="98"/>
                    <a:pt x="103" y="103"/>
                  </a:cubicBezTo>
                  <a:cubicBezTo>
                    <a:pt x="100" y="105"/>
                    <a:pt x="91" y="103"/>
                    <a:pt x="88" y="100"/>
                  </a:cubicBezTo>
                  <a:cubicBezTo>
                    <a:pt x="77" y="90"/>
                    <a:pt x="67" y="79"/>
                    <a:pt x="54" y="66"/>
                  </a:cubicBezTo>
                  <a:cubicBezTo>
                    <a:pt x="43" y="78"/>
                    <a:pt x="33" y="89"/>
                    <a:pt x="23" y="100"/>
                  </a:cubicBezTo>
                  <a:cubicBezTo>
                    <a:pt x="18" y="105"/>
                    <a:pt x="12" y="110"/>
                    <a:pt x="7" y="102"/>
                  </a:cubicBezTo>
                  <a:cubicBezTo>
                    <a:pt x="5" y="99"/>
                    <a:pt x="7" y="91"/>
                    <a:pt x="10" y="87"/>
                  </a:cubicBezTo>
                  <a:cubicBezTo>
                    <a:pt x="20" y="77"/>
                    <a:pt x="32" y="67"/>
                    <a:pt x="45" y="55"/>
                  </a:cubicBezTo>
                  <a:cubicBezTo>
                    <a:pt x="31" y="43"/>
                    <a:pt x="20" y="33"/>
                    <a:pt x="10" y="22"/>
                  </a:cubicBezTo>
                  <a:cubicBezTo>
                    <a:pt x="5" y="18"/>
                    <a:pt x="0" y="13"/>
                    <a:pt x="6" y="7"/>
                  </a:cubicBezTo>
                  <a:cubicBezTo>
                    <a:pt x="13" y="0"/>
                    <a:pt x="18" y="5"/>
                    <a:pt x="23" y="10"/>
                  </a:cubicBezTo>
                  <a:cubicBezTo>
                    <a:pt x="33" y="20"/>
                    <a:pt x="44" y="31"/>
                    <a:pt x="55" y="43"/>
                  </a:cubicBezTo>
                  <a:cubicBezTo>
                    <a:pt x="67" y="31"/>
                    <a:pt x="76" y="20"/>
                    <a:pt x="87" y="10"/>
                  </a:cubicBezTo>
                  <a:cubicBezTo>
                    <a:pt x="91" y="7"/>
                    <a:pt x="100" y="4"/>
                    <a:pt x="103" y="6"/>
                  </a:cubicBezTo>
                  <a:cubicBezTo>
                    <a:pt x="110" y="12"/>
                    <a:pt x="105" y="18"/>
                    <a:pt x="100" y="23"/>
                  </a:cubicBezTo>
                  <a:cubicBezTo>
                    <a:pt x="89" y="33"/>
                    <a:pt x="79" y="43"/>
                    <a:pt x="66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500"/>
            </a:p>
          </p:txBody>
        </p:sp>
        <p:sp>
          <p:nvSpPr>
            <p:cNvPr id="152" name="Freeform 105">
              <a:extLst>
                <a:ext uri="{FF2B5EF4-FFF2-40B4-BE49-F238E27FC236}">
                  <a16:creationId xmlns:a16="http://schemas.microsoft.com/office/drawing/2014/main" xmlns="" id="{A4BF340C-DA63-48BE-85C5-6F31B94DB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2471" y="1960"/>
              <a:ext cx="34" cy="236"/>
            </a:xfrm>
            <a:custGeom>
              <a:avLst/>
              <a:gdLst>
                <a:gd name="T0" fmla="*/ 18 w 19"/>
                <a:gd name="T1" fmla="*/ 66 h 133"/>
                <a:gd name="T2" fmla="*/ 18 w 19"/>
                <a:gd name="T3" fmla="*/ 119 h 133"/>
                <a:gd name="T4" fmla="*/ 9 w 19"/>
                <a:gd name="T5" fmla="*/ 132 h 133"/>
                <a:gd name="T6" fmla="*/ 0 w 19"/>
                <a:gd name="T7" fmla="*/ 119 h 133"/>
                <a:gd name="T8" fmla="*/ 1 w 19"/>
                <a:gd name="T9" fmla="*/ 14 h 133"/>
                <a:gd name="T10" fmla="*/ 9 w 19"/>
                <a:gd name="T11" fmla="*/ 0 h 133"/>
                <a:gd name="T12" fmla="*/ 18 w 19"/>
                <a:gd name="T13" fmla="*/ 13 h 133"/>
                <a:gd name="T14" fmla="*/ 18 w 19"/>
                <a:gd name="T15" fmla="*/ 66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" h="133">
                  <a:moveTo>
                    <a:pt x="18" y="66"/>
                  </a:moveTo>
                  <a:cubicBezTo>
                    <a:pt x="18" y="84"/>
                    <a:pt x="19" y="101"/>
                    <a:pt x="18" y="119"/>
                  </a:cubicBezTo>
                  <a:cubicBezTo>
                    <a:pt x="18" y="123"/>
                    <a:pt x="13" y="131"/>
                    <a:pt x="9" y="132"/>
                  </a:cubicBezTo>
                  <a:cubicBezTo>
                    <a:pt x="1" y="133"/>
                    <a:pt x="0" y="125"/>
                    <a:pt x="0" y="119"/>
                  </a:cubicBezTo>
                  <a:cubicBezTo>
                    <a:pt x="0" y="84"/>
                    <a:pt x="0" y="49"/>
                    <a:pt x="1" y="14"/>
                  </a:cubicBezTo>
                  <a:cubicBezTo>
                    <a:pt x="1" y="9"/>
                    <a:pt x="6" y="5"/>
                    <a:pt x="9" y="0"/>
                  </a:cubicBezTo>
                  <a:cubicBezTo>
                    <a:pt x="12" y="4"/>
                    <a:pt x="18" y="9"/>
                    <a:pt x="18" y="13"/>
                  </a:cubicBezTo>
                  <a:cubicBezTo>
                    <a:pt x="19" y="31"/>
                    <a:pt x="18" y="49"/>
                    <a:pt x="18" y="6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500"/>
            </a:p>
          </p:txBody>
        </p:sp>
        <p:sp>
          <p:nvSpPr>
            <p:cNvPr id="153" name="Freeform 106">
              <a:extLst>
                <a:ext uri="{FF2B5EF4-FFF2-40B4-BE49-F238E27FC236}">
                  <a16:creationId xmlns:a16="http://schemas.microsoft.com/office/drawing/2014/main" xmlns="" id="{D6E1835B-0FA0-48C6-984E-D631F176F29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65" y="2320"/>
              <a:ext cx="140" cy="141"/>
            </a:xfrm>
            <a:custGeom>
              <a:avLst/>
              <a:gdLst>
                <a:gd name="T0" fmla="*/ 39 w 79"/>
                <a:gd name="T1" fmla="*/ 78 h 79"/>
                <a:gd name="T2" fmla="*/ 0 w 79"/>
                <a:gd name="T3" fmla="*/ 39 h 79"/>
                <a:gd name="T4" fmla="*/ 41 w 79"/>
                <a:gd name="T5" fmla="*/ 1 h 79"/>
                <a:gd name="T6" fmla="*/ 78 w 79"/>
                <a:gd name="T7" fmla="*/ 40 h 79"/>
                <a:gd name="T8" fmla="*/ 39 w 79"/>
                <a:gd name="T9" fmla="*/ 78 h 79"/>
                <a:gd name="T10" fmla="*/ 60 w 79"/>
                <a:gd name="T11" fmla="*/ 39 h 79"/>
                <a:gd name="T12" fmla="*/ 39 w 79"/>
                <a:gd name="T13" fmla="*/ 19 h 79"/>
                <a:gd name="T14" fmla="*/ 19 w 79"/>
                <a:gd name="T15" fmla="*/ 39 h 79"/>
                <a:gd name="T16" fmla="*/ 39 w 79"/>
                <a:gd name="T17" fmla="*/ 61 h 79"/>
                <a:gd name="T18" fmla="*/ 60 w 79"/>
                <a:gd name="T19" fmla="*/ 39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9" h="79">
                  <a:moveTo>
                    <a:pt x="39" y="78"/>
                  </a:moveTo>
                  <a:cubicBezTo>
                    <a:pt x="17" y="78"/>
                    <a:pt x="0" y="60"/>
                    <a:pt x="0" y="39"/>
                  </a:cubicBezTo>
                  <a:cubicBezTo>
                    <a:pt x="1" y="18"/>
                    <a:pt x="19" y="0"/>
                    <a:pt x="41" y="1"/>
                  </a:cubicBezTo>
                  <a:cubicBezTo>
                    <a:pt x="62" y="1"/>
                    <a:pt x="79" y="19"/>
                    <a:pt x="78" y="40"/>
                  </a:cubicBezTo>
                  <a:cubicBezTo>
                    <a:pt x="78" y="62"/>
                    <a:pt x="60" y="79"/>
                    <a:pt x="39" y="78"/>
                  </a:cubicBezTo>
                  <a:close/>
                  <a:moveTo>
                    <a:pt x="60" y="39"/>
                  </a:moveTo>
                  <a:cubicBezTo>
                    <a:pt x="60" y="28"/>
                    <a:pt x="51" y="19"/>
                    <a:pt x="39" y="19"/>
                  </a:cubicBezTo>
                  <a:cubicBezTo>
                    <a:pt x="28" y="19"/>
                    <a:pt x="19" y="28"/>
                    <a:pt x="19" y="39"/>
                  </a:cubicBezTo>
                  <a:cubicBezTo>
                    <a:pt x="19" y="51"/>
                    <a:pt x="28" y="61"/>
                    <a:pt x="39" y="61"/>
                  </a:cubicBezTo>
                  <a:cubicBezTo>
                    <a:pt x="50" y="60"/>
                    <a:pt x="60" y="50"/>
                    <a:pt x="60" y="3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500"/>
            </a:p>
          </p:txBody>
        </p:sp>
      </p:grpSp>
      <p:grpSp>
        <p:nvGrpSpPr>
          <p:cNvPr id="154" name="Group 86">
            <a:extLst>
              <a:ext uri="{FF2B5EF4-FFF2-40B4-BE49-F238E27FC236}">
                <a16:creationId xmlns:a16="http://schemas.microsoft.com/office/drawing/2014/main" xmlns="" id="{645097C5-BB2F-452E-9FFD-88DFC1B3456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251096" y="1408670"/>
            <a:ext cx="420688" cy="427928"/>
            <a:chOff x="1722" y="993"/>
            <a:chExt cx="2208" cy="2246"/>
          </a:xfrm>
          <a:solidFill>
            <a:schemeClr val="accent4"/>
          </a:solidFill>
        </p:grpSpPr>
        <p:sp>
          <p:nvSpPr>
            <p:cNvPr id="155" name="Freeform 87">
              <a:extLst>
                <a:ext uri="{FF2B5EF4-FFF2-40B4-BE49-F238E27FC236}">
                  <a16:creationId xmlns:a16="http://schemas.microsoft.com/office/drawing/2014/main" xmlns="" id="{BB840C55-C8F1-418C-ADFA-98B54EF4D24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22" y="993"/>
              <a:ext cx="2208" cy="1721"/>
            </a:xfrm>
            <a:custGeom>
              <a:avLst/>
              <a:gdLst>
                <a:gd name="T0" fmla="*/ 192 w 1250"/>
                <a:gd name="T1" fmla="*/ 43 h 973"/>
                <a:gd name="T2" fmla="*/ 0 w 1250"/>
                <a:gd name="T3" fmla="*/ 43 h 973"/>
                <a:gd name="T4" fmla="*/ 0 w 1250"/>
                <a:gd name="T5" fmla="*/ 1 h 973"/>
                <a:gd name="T6" fmla="*/ 13 w 1250"/>
                <a:gd name="T7" fmla="*/ 0 h 973"/>
                <a:gd name="T8" fmla="*/ 204 w 1250"/>
                <a:gd name="T9" fmla="*/ 0 h 973"/>
                <a:gd name="T10" fmla="*/ 233 w 1250"/>
                <a:gd name="T11" fmla="*/ 24 h 973"/>
                <a:gd name="T12" fmla="*/ 267 w 1250"/>
                <a:gd name="T13" fmla="*/ 237 h 973"/>
                <a:gd name="T14" fmla="*/ 270 w 1250"/>
                <a:gd name="T15" fmla="*/ 254 h 973"/>
                <a:gd name="T16" fmla="*/ 335 w 1250"/>
                <a:gd name="T17" fmla="*/ 254 h 973"/>
                <a:gd name="T18" fmla="*/ 1217 w 1250"/>
                <a:gd name="T19" fmla="*/ 254 h 973"/>
                <a:gd name="T20" fmla="*/ 1246 w 1250"/>
                <a:gd name="T21" fmla="*/ 288 h 973"/>
                <a:gd name="T22" fmla="*/ 1163 w 1250"/>
                <a:gd name="T23" fmla="*/ 823 h 973"/>
                <a:gd name="T24" fmla="*/ 1136 w 1250"/>
                <a:gd name="T25" fmla="*/ 846 h 973"/>
                <a:gd name="T26" fmla="*/ 381 w 1250"/>
                <a:gd name="T27" fmla="*/ 846 h 973"/>
                <a:gd name="T28" fmla="*/ 364 w 1250"/>
                <a:gd name="T29" fmla="*/ 846 h 973"/>
                <a:gd name="T30" fmla="*/ 377 w 1250"/>
                <a:gd name="T31" fmla="*/ 931 h 973"/>
                <a:gd name="T32" fmla="*/ 1141 w 1250"/>
                <a:gd name="T33" fmla="*/ 931 h 973"/>
                <a:gd name="T34" fmla="*/ 1141 w 1250"/>
                <a:gd name="T35" fmla="*/ 973 h 973"/>
                <a:gd name="T36" fmla="*/ 1127 w 1250"/>
                <a:gd name="T37" fmla="*/ 973 h 973"/>
                <a:gd name="T38" fmla="*/ 367 w 1250"/>
                <a:gd name="T39" fmla="*/ 973 h 973"/>
                <a:gd name="T40" fmla="*/ 337 w 1250"/>
                <a:gd name="T41" fmla="*/ 949 h 973"/>
                <a:gd name="T42" fmla="*/ 277 w 1250"/>
                <a:gd name="T43" fmla="*/ 574 h 973"/>
                <a:gd name="T44" fmla="*/ 233 w 1250"/>
                <a:gd name="T45" fmla="*/ 298 h 973"/>
                <a:gd name="T46" fmla="*/ 195 w 1250"/>
                <a:gd name="T47" fmla="*/ 55 h 973"/>
                <a:gd name="T48" fmla="*/ 192 w 1250"/>
                <a:gd name="T49" fmla="*/ 43 h 973"/>
                <a:gd name="T50" fmla="*/ 1124 w 1250"/>
                <a:gd name="T51" fmla="*/ 804 h 973"/>
                <a:gd name="T52" fmla="*/ 1202 w 1250"/>
                <a:gd name="T53" fmla="*/ 297 h 973"/>
                <a:gd name="T54" fmla="*/ 278 w 1250"/>
                <a:gd name="T55" fmla="*/ 297 h 973"/>
                <a:gd name="T56" fmla="*/ 356 w 1250"/>
                <a:gd name="T57" fmla="*/ 804 h 973"/>
                <a:gd name="T58" fmla="*/ 1124 w 1250"/>
                <a:gd name="T59" fmla="*/ 804 h 9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250" h="973">
                  <a:moveTo>
                    <a:pt x="192" y="43"/>
                  </a:moveTo>
                  <a:cubicBezTo>
                    <a:pt x="128" y="43"/>
                    <a:pt x="65" y="43"/>
                    <a:pt x="0" y="43"/>
                  </a:cubicBezTo>
                  <a:cubicBezTo>
                    <a:pt x="0" y="29"/>
                    <a:pt x="0" y="15"/>
                    <a:pt x="0" y="1"/>
                  </a:cubicBezTo>
                  <a:cubicBezTo>
                    <a:pt x="5" y="1"/>
                    <a:pt x="9" y="0"/>
                    <a:pt x="13" y="0"/>
                  </a:cubicBezTo>
                  <a:cubicBezTo>
                    <a:pt x="77" y="0"/>
                    <a:pt x="140" y="0"/>
                    <a:pt x="204" y="0"/>
                  </a:cubicBezTo>
                  <a:cubicBezTo>
                    <a:pt x="224" y="0"/>
                    <a:pt x="230" y="5"/>
                    <a:pt x="233" y="24"/>
                  </a:cubicBezTo>
                  <a:cubicBezTo>
                    <a:pt x="244" y="95"/>
                    <a:pt x="255" y="166"/>
                    <a:pt x="267" y="237"/>
                  </a:cubicBezTo>
                  <a:cubicBezTo>
                    <a:pt x="268" y="242"/>
                    <a:pt x="269" y="248"/>
                    <a:pt x="270" y="254"/>
                  </a:cubicBezTo>
                  <a:cubicBezTo>
                    <a:pt x="292" y="254"/>
                    <a:pt x="314" y="254"/>
                    <a:pt x="335" y="254"/>
                  </a:cubicBezTo>
                  <a:cubicBezTo>
                    <a:pt x="629" y="254"/>
                    <a:pt x="923" y="254"/>
                    <a:pt x="1217" y="254"/>
                  </a:cubicBezTo>
                  <a:cubicBezTo>
                    <a:pt x="1243" y="254"/>
                    <a:pt x="1250" y="262"/>
                    <a:pt x="1246" y="288"/>
                  </a:cubicBezTo>
                  <a:cubicBezTo>
                    <a:pt x="1218" y="466"/>
                    <a:pt x="1191" y="645"/>
                    <a:pt x="1163" y="823"/>
                  </a:cubicBezTo>
                  <a:cubicBezTo>
                    <a:pt x="1160" y="841"/>
                    <a:pt x="1154" y="846"/>
                    <a:pt x="1136" y="846"/>
                  </a:cubicBezTo>
                  <a:cubicBezTo>
                    <a:pt x="884" y="846"/>
                    <a:pt x="633" y="846"/>
                    <a:pt x="381" y="846"/>
                  </a:cubicBezTo>
                  <a:cubicBezTo>
                    <a:pt x="376" y="846"/>
                    <a:pt x="371" y="846"/>
                    <a:pt x="364" y="846"/>
                  </a:cubicBezTo>
                  <a:cubicBezTo>
                    <a:pt x="368" y="875"/>
                    <a:pt x="373" y="903"/>
                    <a:pt x="377" y="931"/>
                  </a:cubicBezTo>
                  <a:cubicBezTo>
                    <a:pt x="632" y="931"/>
                    <a:pt x="886" y="931"/>
                    <a:pt x="1141" y="931"/>
                  </a:cubicBezTo>
                  <a:cubicBezTo>
                    <a:pt x="1141" y="945"/>
                    <a:pt x="1141" y="958"/>
                    <a:pt x="1141" y="973"/>
                  </a:cubicBezTo>
                  <a:cubicBezTo>
                    <a:pt x="1137" y="973"/>
                    <a:pt x="1132" y="973"/>
                    <a:pt x="1127" y="973"/>
                  </a:cubicBezTo>
                  <a:cubicBezTo>
                    <a:pt x="874" y="973"/>
                    <a:pt x="620" y="973"/>
                    <a:pt x="367" y="973"/>
                  </a:cubicBezTo>
                  <a:cubicBezTo>
                    <a:pt x="346" y="973"/>
                    <a:pt x="341" y="969"/>
                    <a:pt x="337" y="949"/>
                  </a:cubicBezTo>
                  <a:cubicBezTo>
                    <a:pt x="317" y="824"/>
                    <a:pt x="297" y="699"/>
                    <a:pt x="277" y="574"/>
                  </a:cubicBezTo>
                  <a:cubicBezTo>
                    <a:pt x="263" y="482"/>
                    <a:pt x="248" y="390"/>
                    <a:pt x="233" y="298"/>
                  </a:cubicBezTo>
                  <a:cubicBezTo>
                    <a:pt x="221" y="217"/>
                    <a:pt x="208" y="136"/>
                    <a:pt x="195" y="55"/>
                  </a:cubicBezTo>
                  <a:cubicBezTo>
                    <a:pt x="194" y="51"/>
                    <a:pt x="194" y="48"/>
                    <a:pt x="192" y="43"/>
                  </a:cubicBezTo>
                  <a:close/>
                  <a:moveTo>
                    <a:pt x="1124" y="804"/>
                  </a:moveTo>
                  <a:cubicBezTo>
                    <a:pt x="1150" y="634"/>
                    <a:pt x="1176" y="466"/>
                    <a:pt x="1202" y="297"/>
                  </a:cubicBezTo>
                  <a:cubicBezTo>
                    <a:pt x="893" y="297"/>
                    <a:pt x="586" y="297"/>
                    <a:pt x="278" y="297"/>
                  </a:cubicBezTo>
                  <a:cubicBezTo>
                    <a:pt x="304" y="467"/>
                    <a:pt x="330" y="635"/>
                    <a:pt x="356" y="804"/>
                  </a:cubicBezTo>
                  <a:cubicBezTo>
                    <a:pt x="613" y="804"/>
                    <a:pt x="868" y="804"/>
                    <a:pt x="1124" y="80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500"/>
            </a:p>
          </p:txBody>
        </p:sp>
        <p:sp>
          <p:nvSpPr>
            <p:cNvPr id="156" name="Freeform 88">
              <a:extLst>
                <a:ext uri="{FF2B5EF4-FFF2-40B4-BE49-F238E27FC236}">
                  <a16:creationId xmlns:a16="http://schemas.microsoft.com/office/drawing/2014/main" xmlns="" id="{34C76719-CDB8-41FF-ADCE-C2233D0877C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93" y="2790"/>
              <a:ext cx="449" cy="449"/>
            </a:xfrm>
            <a:custGeom>
              <a:avLst/>
              <a:gdLst>
                <a:gd name="T0" fmla="*/ 254 w 254"/>
                <a:gd name="T1" fmla="*/ 127 h 254"/>
                <a:gd name="T2" fmla="*/ 126 w 254"/>
                <a:gd name="T3" fmla="*/ 254 h 254"/>
                <a:gd name="T4" fmla="*/ 0 w 254"/>
                <a:gd name="T5" fmla="*/ 125 h 254"/>
                <a:gd name="T6" fmla="*/ 128 w 254"/>
                <a:gd name="T7" fmla="*/ 0 h 254"/>
                <a:gd name="T8" fmla="*/ 254 w 254"/>
                <a:gd name="T9" fmla="*/ 127 h 254"/>
                <a:gd name="T10" fmla="*/ 43 w 254"/>
                <a:gd name="T11" fmla="*/ 126 h 254"/>
                <a:gd name="T12" fmla="*/ 128 w 254"/>
                <a:gd name="T13" fmla="*/ 211 h 254"/>
                <a:gd name="T14" fmla="*/ 212 w 254"/>
                <a:gd name="T15" fmla="*/ 127 h 254"/>
                <a:gd name="T16" fmla="*/ 126 w 254"/>
                <a:gd name="T17" fmla="*/ 42 h 254"/>
                <a:gd name="T18" fmla="*/ 43 w 254"/>
                <a:gd name="T19" fmla="*/ 126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4" h="254">
                  <a:moveTo>
                    <a:pt x="254" y="127"/>
                  </a:moveTo>
                  <a:cubicBezTo>
                    <a:pt x="254" y="197"/>
                    <a:pt x="197" y="254"/>
                    <a:pt x="126" y="254"/>
                  </a:cubicBezTo>
                  <a:cubicBezTo>
                    <a:pt x="56" y="253"/>
                    <a:pt x="0" y="196"/>
                    <a:pt x="0" y="125"/>
                  </a:cubicBezTo>
                  <a:cubicBezTo>
                    <a:pt x="0" y="56"/>
                    <a:pt x="58" y="0"/>
                    <a:pt x="128" y="0"/>
                  </a:cubicBezTo>
                  <a:cubicBezTo>
                    <a:pt x="198" y="0"/>
                    <a:pt x="254" y="57"/>
                    <a:pt x="254" y="127"/>
                  </a:cubicBezTo>
                  <a:close/>
                  <a:moveTo>
                    <a:pt x="43" y="126"/>
                  </a:moveTo>
                  <a:cubicBezTo>
                    <a:pt x="43" y="174"/>
                    <a:pt x="80" y="211"/>
                    <a:pt x="128" y="211"/>
                  </a:cubicBezTo>
                  <a:cubicBezTo>
                    <a:pt x="174" y="211"/>
                    <a:pt x="212" y="173"/>
                    <a:pt x="212" y="127"/>
                  </a:cubicBezTo>
                  <a:cubicBezTo>
                    <a:pt x="212" y="80"/>
                    <a:pt x="174" y="42"/>
                    <a:pt x="126" y="42"/>
                  </a:cubicBezTo>
                  <a:cubicBezTo>
                    <a:pt x="81" y="42"/>
                    <a:pt x="43" y="80"/>
                    <a:pt x="43" y="1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500"/>
            </a:p>
          </p:txBody>
        </p:sp>
        <p:sp>
          <p:nvSpPr>
            <p:cNvPr id="157" name="Freeform 89">
              <a:extLst>
                <a:ext uri="{FF2B5EF4-FFF2-40B4-BE49-F238E27FC236}">
                  <a16:creationId xmlns:a16="http://schemas.microsoft.com/office/drawing/2014/main" xmlns="" id="{1BB168D0-2094-44D7-93DB-BEB8990ACD5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15" y="2790"/>
              <a:ext cx="450" cy="449"/>
            </a:xfrm>
            <a:custGeom>
              <a:avLst/>
              <a:gdLst>
                <a:gd name="T0" fmla="*/ 1 w 255"/>
                <a:gd name="T1" fmla="*/ 126 h 254"/>
                <a:gd name="T2" fmla="*/ 129 w 255"/>
                <a:gd name="T3" fmla="*/ 0 h 254"/>
                <a:gd name="T4" fmla="*/ 255 w 255"/>
                <a:gd name="T5" fmla="*/ 125 h 254"/>
                <a:gd name="T6" fmla="*/ 127 w 255"/>
                <a:gd name="T7" fmla="*/ 254 h 254"/>
                <a:gd name="T8" fmla="*/ 1 w 255"/>
                <a:gd name="T9" fmla="*/ 126 h 254"/>
                <a:gd name="T10" fmla="*/ 212 w 255"/>
                <a:gd name="T11" fmla="*/ 127 h 254"/>
                <a:gd name="T12" fmla="*/ 128 w 255"/>
                <a:gd name="T13" fmla="*/ 42 h 254"/>
                <a:gd name="T14" fmla="*/ 43 w 255"/>
                <a:gd name="T15" fmla="*/ 126 h 254"/>
                <a:gd name="T16" fmla="*/ 127 w 255"/>
                <a:gd name="T17" fmla="*/ 211 h 254"/>
                <a:gd name="T18" fmla="*/ 212 w 255"/>
                <a:gd name="T19" fmla="*/ 127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5" h="254">
                  <a:moveTo>
                    <a:pt x="1" y="126"/>
                  </a:moveTo>
                  <a:cubicBezTo>
                    <a:pt x="1" y="56"/>
                    <a:pt x="58" y="0"/>
                    <a:pt x="129" y="0"/>
                  </a:cubicBezTo>
                  <a:cubicBezTo>
                    <a:pt x="197" y="0"/>
                    <a:pt x="255" y="58"/>
                    <a:pt x="255" y="125"/>
                  </a:cubicBezTo>
                  <a:cubicBezTo>
                    <a:pt x="254" y="197"/>
                    <a:pt x="198" y="254"/>
                    <a:pt x="127" y="254"/>
                  </a:cubicBezTo>
                  <a:cubicBezTo>
                    <a:pt x="57" y="254"/>
                    <a:pt x="0" y="196"/>
                    <a:pt x="1" y="126"/>
                  </a:cubicBezTo>
                  <a:close/>
                  <a:moveTo>
                    <a:pt x="212" y="127"/>
                  </a:moveTo>
                  <a:cubicBezTo>
                    <a:pt x="212" y="80"/>
                    <a:pt x="175" y="42"/>
                    <a:pt x="128" y="42"/>
                  </a:cubicBezTo>
                  <a:cubicBezTo>
                    <a:pt x="81" y="42"/>
                    <a:pt x="43" y="80"/>
                    <a:pt x="43" y="126"/>
                  </a:cubicBezTo>
                  <a:cubicBezTo>
                    <a:pt x="43" y="173"/>
                    <a:pt x="81" y="211"/>
                    <a:pt x="127" y="211"/>
                  </a:cubicBezTo>
                  <a:cubicBezTo>
                    <a:pt x="174" y="211"/>
                    <a:pt x="212" y="173"/>
                    <a:pt x="212" y="1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500"/>
            </a:p>
          </p:txBody>
        </p:sp>
        <p:sp>
          <p:nvSpPr>
            <p:cNvPr id="158" name="Freeform 90">
              <a:extLst>
                <a:ext uri="{FF2B5EF4-FFF2-40B4-BE49-F238E27FC236}">
                  <a16:creationId xmlns:a16="http://schemas.microsoft.com/office/drawing/2014/main" xmlns="" id="{358A9A7F-2055-4C58-AD73-41EAAE87E906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" y="1637"/>
              <a:ext cx="848" cy="667"/>
            </a:xfrm>
            <a:custGeom>
              <a:avLst/>
              <a:gdLst>
                <a:gd name="T0" fmla="*/ 140 w 480"/>
                <a:gd name="T1" fmla="*/ 0 h 377"/>
                <a:gd name="T2" fmla="*/ 164 w 480"/>
                <a:gd name="T3" fmla="*/ 35 h 377"/>
                <a:gd name="T4" fmla="*/ 99 w 480"/>
                <a:gd name="T5" fmla="*/ 78 h 377"/>
                <a:gd name="T6" fmla="*/ 100 w 480"/>
                <a:gd name="T7" fmla="*/ 81 h 377"/>
                <a:gd name="T8" fmla="*/ 113 w 480"/>
                <a:gd name="T9" fmla="*/ 81 h 377"/>
                <a:gd name="T10" fmla="*/ 321 w 480"/>
                <a:gd name="T11" fmla="*/ 81 h 377"/>
                <a:gd name="T12" fmla="*/ 455 w 480"/>
                <a:gd name="T13" fmla="*/ 166 h 377"/>
                <a:gd name="T14" fmla="*/ 439 w 480"/>
                <a:gd name="T15" fmla="*/ 317 h 377"/>
                <a:gd name="T16" fmla="*/ 320 w 480"/>
                <a:gd name="T17" fmla="*/ 377 h 377"/>
                <a:gd name="T18" fmla="*/ 41 w 480"/>
                <a:gd name="T19" fmla="*/ 377 h 377"/>
                <a:gd name="T20" fmla="*/ 26 w 480"/>
                <a:gd name="T21" fmla="*/ 377 h 377"/>
                <a:gd name="T22" fmla="*/ 26 w 480"/>
                <a:gd name="T23" fmla="*/ 334 h 377"/>
                <a:gd name="T24" fmla="*/ 42 w 480"/>
                <a:gd name="T25" fmla="*/ 334 h 377"/>
                <a:gd name="T26" fmla="*/ 320 w 480"/>
                <a:gd name="T27" fmla="*/ 334 h 377"/>
                <a:gd name="T28" fmla="*/ 427 w 480"/>
                <a:gd name="T29" fmla="*/ 229 h 377"/>
                <a:gd name="T30" fmla="*/ 319 w 480"/>
                <a:gd name="T31" fmla="*/ 123 h 377"/>
                <a:gd name="T32" fmla="*/ 96 w 480"/>
                <a:gd name="T33" fmla="*/ 123 h 377"/>
                <a:gd name="T34" fmla="*/ 164 w 480"/>
                <a:gd name="T35" fmla="*/ 169 h 377"/>
                <a:gd name="T36" fmla="*/ 141 w 480"/>
                <a:gd name="T37" fmla="*/ 204 h 377"/>
                <a:gd name="T38" fmla="*/ 115 w 480"/>
                <a:gd name="T39" fmla="*/ 187 h 377"/>
                <a:gd name="T40" fmla="*/ 15 w 480"/>
                <a:gd name="T41" fmla="*/ 120 h 377"/>
                <a:gd name="T42" fmla="*/ 13 w 480"/>
                <a:gd name="T43" fmla="*/ 84 h 377"/>
                <a:gd name="T44" fmla="*/ 140 w 480"/>
                <a:gd name="T45" fmla="*/ 0 h 3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80" h="377">
                  <a:moveTo>
                    <a:pt x="140" y="0"/>
                  </a:moveTo>
                  <a:cubicBezTo>
                    <a:pt x="148" y="11"/>
                    <a:pt x="156" y="23"/>
                    <a:pt x="164" y="35"/>
                  </a:cubicBezTo>
                  <a:cubicBezTo>
                    <a:pt x="142" y="49"/>
                    <a:pt x="121" y="64"/>
                    <a:pt x="99" y="78"/>
                  </a:cubicBezTo>
                  <a:cubicBezTo>
                    <a:pt x="100" y="79"/>
                    <a:pt x="100" y="80"/>
                    <a:pt x="100" y="81"/>
                  </a:cubicBezTo>
                  <a:cubicBezTo>
                    <a:pt x="104" y="81"/>
                    <a:pt x="108" y="81"/>
                    <a:pt x="113" y="81"/>
                  </a:cubicBezTo>
                  <a:cubicBezTo>
                    <a:pt x="182" y="81"/>
                    <a:pt x="252" y="80"/>
                    <a:pt x="321" y="81"/>
                  </a:cubicBezTo>
                  <a:cubicBezTo>
                    <a:pt x="383" y="82"/>
                    <a:pt x="429" y="110"/>
                    <a:pt x="455" y="166"/>
                  </a:cubicBezTo>
                  <a:cubicBezTo>
                    <a:pt x="480" y="219"/>
                    <a:pt x="474" y="270"/>
                    <a:pt x="439" y="317"/>
                  </a:cubicBezTo>
                  <a:cubicBezTo>
                    <a:pt x="410" y="357"/>
                    <a:pt x="369" y="376"/>
                    <a:pt x="320" y="377"/>
                  </a:cubicBezTo>
                  <a:cubicBezTo>
                    <a:pt x="227" y="377"/>
                    <a:pt x="134" y="377"/>
                    <a:pt x="41" y="377"/>
                  </a:cubicBezTo>
                  <a:cubicBezTo>
                    <a:pt x="36" y="377"/>
                    <a:pt x="32" y="377"/>
                    <a:pt x="26" y="377"/>
                  </a:cubicBezTo>
                  <a:cubicBezTo>
                    <a:pt x="26" y="363"/>
                    <a:pt x="26" y="350"/>
                    <a:pt x="26" y="334"/>
                  </a:cubicBezTo>
                  <a:cubicBezTo>
                    <a:pt x="31" y="334"/>
                    <a:pt x="37" y="334"/>
                    <a:pt x="42" y="334"/>
                  </a:cubicBezTo>
                  <a:cubicBezTo>
                    <a:pt x="135" y="334"/>
                    <a:pt x="227" y="334"/>
                    <a:pt x="320" y="334"/>
                  </a:cubicBezTo>
                  <a:cubicBezTo>
                    <a:pt x="380" y="334"/>
                    <a:pt x="427" y="288"/>
                    <a:pt x="427" y="229"/>
                  </a:cubicBezTo>
                  <a:cubicBezTo>
                    <a:pt x="427" y="170"/>
                    <a:pt x="380" y="123"/>
                    <a:pt x="319" y="123"/>
                  </a:cubicBezTo>
                  <a:cubicBezTo>
                    <a:pt x="246" y="123"/>
                    <a:pt x="173" y="123"/>
                    <a:pt x="96" y="123"/>
                  </a:cubicBezTo>
                  <a:cubicBezTo>
                    <a:pt x="120" y="139"/>
                    <a:pt x="141" y="154"/>
                    <a:pt x="164" y="169"/>
                  </a:cubicBezTo>
                  <a:cubicBezTo>
                    <a:pt x="156" y="180"/>
                    <a:pt x="149" y="192"/>
                    <a:pt x="141" y="204"/>
                  </a:cubicBezTo>
                  <a:cubicBezTo>
                    <a:pt x="132" y="198"/>
                    <a:pt x="123" y="193"/>
                    <a:pt x="115" y="187"/>
                  </a:cubicBezTo>
                  <a:cubicBezTo>
                    <a:pt x="82" y="165"/>
                    <a:pt x="48" y="143"/>
                    <a:pt x="15" y="120"/>
                  </a:cubicBezTo>
                  <a:cubicBezTo>
                    <a:pt x="1" y="111"/>
                    <a:pt x="0" y="94"/>
                    <a:pt x="13" y="84"/>
                  </a:cubicBezTo>
                  <a:cubicBezTo>
                    <a:pt x="55" y="56"/>
                    <a:pt x="97" y="28"/>
                    <a:pt x="14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500"/>
            </a:p>
          </p:txBody>
        </p:sp>
      </p:grpSp>
    </p:spTree>
    <p:extLst>
      <p:ext uri="{BB962C8B-B14F-4D97-AF65-F5344CB8AC3E}">
        <p14:creationId xmlns:p14="http://schemas.microsoft.com/office/powerpoint/2010/main" val="183251198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>
            <a:extLst>
              <a:ext uri="{FF2B5EF4-FFF2-40B4-BE49-F238E27FC236}">
                <a16:creationId xmlns:a16="http://schemas.microsoft.com/office/drawing/2014/main" xmlns="" id="{4A9133D1-3D63-416D-8268-45C23F39F12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71258749"/>
              </p:ext>
            </p:extLst>
          </p:nvPr>
        </p:nvGraphicFramePr>
        <p:xfrm>
          <a:off x="1495425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4479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495425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6A933D5F-4EF4-45C3-8794-9DBCA056BF8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493837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40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DE822C70-A58A-4119-A47D-7C26A1841545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spAutoFit/>
          </a:bodyPr>
          <a:lstStyle/>
          <a:p>
            <a:pPr marL="429768"/>
            <a:r>
              <a:rPr lang="en-US" dirty="0"/>
              <a:t>Overall context at a leading pharmaceutical company</a:t>
            </a:r>
            <a:endParaRPr lang="en-GB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xmlns="" id="{885B6490-4A7D-4150-B7DB-E3C89BB95E46}"/>
              </a:ext>
            </a:extLst>
          </p:cNvPr>
          <p:cNvGrpSpPr/>
          <p:nvPr/>
        </p:nvGrpSpPr>
        <p:grpSpPr>
          <a:xfrm>
            <a:off x="8951182" y="2801938"/>
            <a:ext cx="2699468" cy="3406775"/>
            <a:chOff x="6104529" y="2598511"/>
            <a:chExt cx="2699468" cy="3406775"/>
          </a:xfrm>
        </p:grpSpPr>
        <p:pic>
          <p:nvPicPr>
            <p:cNvPr id="6" name="Picture 4" descr="Ziel">
              <a:extLst>
                <a:ext uri="{FF2B5EF4-FFF2-40B4-BE49-F238E27FC236}">
                  <a16:creationId xmlns:a16="http://schemas.microsoft.com/office/drawing/2014/main" xmlns="" id="{6C2AC614-0DE5-4DE1-9D6F-2656A9E78FF0}"/>
                </a:ext>
              </a:extLst>
            </p:cNvPr>
            <p:cNvPicPr>
              <a:picLocks noChangeArrowheads="1"/>
            </p:cNvPicPr>
            <p:nvPr/>
          </p:nvPicPr>
          <p:blipFill>
            <a:blip r:embed="rId8" cstate="email">
              <a:lum brigh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6104529" y="2598511"/>
              <a:ext cx="2699468" cy="34067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xmlns="" id="{54442198-5A37-4909-AC89-01A5DEC70B56}"/>
                </a:ext>
              </a:extLst>
            </p:cNvPr>
            <p:cNvSpPr>
              <a:spLocks/>
            </p:cNvSpPr>
            <p:nvPr/>
          </p:nvSpPr>
          <p:spPr>
            <a:xfrm>
              <a:off x="6104529" y="2598511"/>
              <a:ext cx="2699468" cy="3406775"/>
            </a:xfrm>
            <a:prstGeom prst="rect">
              <a:avLst/>
            </a:prstGeom>
            <a:solidFill>
              <a:schemeClr val="bg1">
                <a:alpha val="43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17" name="1. On-page tracker">
            <a:extLst>
              <a:ext uri="{FF2B5EF4-FFF2-40B4-BE49-F238E27FC236}">
                <a16:creationId xmlns:a16="http://schemas.microsoft.com/office/drawing/2014/main" xmlns="" id="{A7C4D027-C34F-46E2-B5B6-5FE9BE2F383C}"/>
              </a:ext>
            </a:extLst>
          </p:cNvPr>
          <p:cNvSpPr>
            <a:spLocks noChangeArrowheads="1"/>
          </p:cNvSpPr>
          <p:nvPr/>
        </p:nvSpPr>
        <p:spPr bwMode="gray">
          <a:xfrm>
            <a:off x="158758" y="75764"/>
            <a:ext cx="2426626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t" anchorCtr="0">
            <a:spAutoFit/>
          </a:bodyPr>
          <a:lstStyle/>
          <a:p>
            <a:pPr marL="429768"/>
            <a:r>
              <a:rPr lang="en-US" sz="800" cap="all" dirty="0">
                <a:solidFill>
                  <a:schemeClr val="accent6"/>
                </a:solidFill>
                <a:latin typeface="+mn-lt"/>
              </a:rPr>
              <a:t>Case example 4: GAMIFIED LEARNING</a:t>
            </a:r>
          </a:p>
        </p:txBody>
      </p:sp>
      <p:sp>
        <p:nvSpPr>
          <p:cNvPr id="18" name="Marvintitletrackercircle">
            <a:extLst>
              <a:ext uri="{FF2B5EF4-FFF2-40B4-BE49-F238E27FC236}">
                <a16:creationId xmlns:a16="http://schemas.microsoft.com/office/drawing/2014/main" xmlns="" id="{E096610F-1DA4-4D13-9B7E-8D9949A2A315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58759" y="217488"/>
            <a:ext cx="330200" cy="330200"/>
          </a:xfrm>
          <a:prstGeom prst="ellipse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2000" dirty="0">
                <a:solidFill>
                  <a:schemeClr val="bg1"/>
                </a:solidFill>
                <a:latin typeface="+mj-lt"/>
              </a:rPr>
              <a:t>4</a:t>
            </a:r>
            <a:endParaRPr lang="en-GB" sz="2000" dirty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24" name="Group 23"/>
          <p:cNvGrpSpPr/>
          <p:nvPr/>
        </p:nvGrpSpPr>
        <p:grpSpPr>
          <a:xfrm>
            <a:off x="158760" y="1050221"/>
            <a:ext cx="11491890" cy="4716705"/>
            <a:chOff x="158760" y="687939"/>
            <a:chExt cx="11491890" cy="4716705"/>
          </a:xfrm>
        </p:grpSpPr>
        <p:sp>
          <p:nvSpPr>
            <p:cNvPr id="10" name="Rectangle 5">
              <a:extLst>
                <a:ext uri="{FF2B5EF4-FFF2-40B4-BE49-F238E27FC236}">
                  <a16:creationId xmlns:a16="http://schemas.microsoft.com/office/drawing/2014/main" xmlns="" id="{4526B54A-5283-4967-9228-9AE49EB44F92}"/>
                </a:ext>
              </a:extLst>
            </p:cNvPr>
            <p:cNvSpPr txBox="1">
              <a:spLocks/>
            </p:cNvSpPr>
            <p:nvPr/>
          </p:nvSpPr>
          <p:spPr>
            <a:xfrm>
              <a:off x="247649" y="1134244"/>
              <a:ext cx="6257925" cy="42704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>
                <a:spcBef>
                  <a:spcPts val="600"/>
                </a:spcBef>
                <a:spcAft>
                  <a:spcPts val="300"/>
                </a:spcAft>
              </a:pPr>
              <a:r>
                <a:rPr lang="en-US" sz="2000" dirty="0">
                  <a:ea typeface="MS PGothic" pitchFamily="34" charset="-128"/>
                </a:rPr>
                <a:t>30-40% of on field time considered idle (while waiting for doctor/ travelling) and utilized in non-sales related activities e.g. using social media, gaming etc.</a:t>
              </a:r>
            </a:p>
            <a:p>
              <a:pPr lvl="1">
                <a:spcBef>
                  <a:spcPts val="600"/>
                </a:spcBef>
                <a:spcAft>
                  <a:spcPts val="300"/>
                </a:spcAft>
              </a:pPr>
              <a:r>
                <a:rPr lang="en-US" sz="2000" dirty="0">
                  <a:ea typeface="MS PGothic" pitchFamily="34" charset="-128"/>
                </a:rPr>
                <a:t>At the same time, the effectiveness of traditional classroom and online learning was hindered by four limitations</a:t>
              </a:r>
            </a:p>
            <a:p>
              <a:pPr lvl="2">
                <a:spcBef>
                  <a:spcPts val="600"/>
                </a:spcBef>
                <a:spcAft>
                  <a:spcPts val="300"/>
                </a:spcAft>
              </a:pPr>
              <a:r>
                <a:rPr lang="en-US" sz="2000" dirty="0">
                  <a:ea typeface="MS PGothic" pitchFamily="34" charset="-128"/>
                </a:rPr>
                <a:t>one-size-fits-all doesn't work</a:t>
              </a:r>
            </a:p>
            <a:p>
              <a:pPr lvl="2">
                <a:spcBef>
                  <a:spcPts val="600"/>
                </a:spcBef>
                <a:spcAft>
                  <a:spcPts val="300"/>
                </a:spcAft>
              </a:pPr>
              <a:r>
                <a:rPr lang="en-US" sz="2000" dirty="0">
                  <a:ea typeface="MS PGothic" pitchFamily="34" charset="-128"/>
                </a:rPr>
                <a:t>skills &amp; knowledge have a short shelf life due to rapid market changes</a:t>
              </a:r>
            </a:p>
            <a:p>
              <a:pPr lvl="2">
                <a:spcBef>
                  <a:spcPts val="600"/>
                </a:spcBef>
                <a:spcAft>
                  <a:spcPts val="300"/>
                </a:spcAft>
              </a:pPr>
              <a:r>
                <a:rPr lang="en-US" sz="2000" dirty="0">
                  <a:ea typeface="MS PGothic" pitchFamily="34" charset="-128"/>
                </a:rPr>
                <a:t>it’s not engaging</a:t>
              </a:r>
            </a:p>
            <a:p>
              <a:pPr lvl="2">
                <a:spcBef>
                  <a:spcPts val="600"/>
                </a:spcBef>
                <a:spcAft>
                  <a:spcPts val="300"/>
                </a:spcAft>
              </a:pPr>
              <a:r>
                <a:rPr lang="en-US" sz="2000" dirty="0">
                  <a:ea typeface="MS PGothic" pitchFamily="34" charset="-128"/>
                </a:rPr>
                <a:t>end-users quickly forget the skills and knowledge they acquire.</a:t>
              </a:r>
            </a:p>
          </p:txBody>
        </p:sp>
        <mc:AlternateContent xmlns:mc="http://schemas.openxmlformats.org/markup-compatibility/2006" xmlns:p14="http://schemas.microsoft.com/office/powerpoint/2010/main">
          <mc:Choice Requires="p14">
            <p:contentPart p14:bwMode="auto" r:id="rId9">
              <p14:nvContentPartPr>
                <p14:cNvPr id="14" name="Ink 13">
                  <a:extLst>
                    <a:ext uri="{FF2B5EF4-FFF2-40B4-BE49-F238E27FC236}">
                      <a16:creationId xmlns:a16="http://schemas.microsoft.com/office/drawing/2014/main" xmlns="" id="{577CABE1-67C1-44A2-85EA-29E8CC8C629F}"/>
                    </a:ext>
                  </a:extLst>
                </p14:cNvPr>
                <p14:cNvContentPartPr/>
                <p14:nvPr/>
              </p14:nvContentPartPr>
              <p14:xfrm>
                <a:off x="10207280" y="4111012"/>
                <a:ext cx="45719" cy="360"/>
              </p14:xfrm>
            </p:contentPart>
          </mc:Choice>
          <mc:Fallback xmlns="">
            <p:pic>
              <p:nvPicPr>
                <p:cNvPr id="14" name="Ink 13">
                  <a:extLst>
                    <a:ext uri="{FF2B5EF4-FFF2-40B4-BE49-F238E27FC236}">
                      <a16:creationId xmlns:a16="http://schemas.microsoft.com/office/drawing/2014/main" xmlns:p14="http://schemas.microsoft.com/office/powerpoint/2010/main" xmlns="" id="{577CABE1-67C1-44A2-85EA-29E8CC8C629F}"/>
                    </a:ext>
                  </a:extLst>
                </p:cNvPr>
                <p:cNvPicPr/>
                <p:nvPr/>
              </p:nvPicPr>
              <p:blipFill>
                <a:blip r:embed="rId10"/>
                <a:stretch>
                  <a:fillRect/>
                </a:stretch>
              </p:blipFill>
              <p:spPr>
                <a:xfrm>
                  <a:off x="10207280" y="1077852836"/>
                  <a:ext cx="0" cy="0"/>
                </a:xfrm>
                <a:prstGeom prst="rect">
                  <a:avLst/>
                </a:prstGeom>
              </p:spPr>
            </p:pic>
          </mc:Fallback>
        </mc:AlternateContent>
        <p:sp>
          <p:nvSpPr>
            <p:cNvPr id="15" name="Rectangle 5">
              <a:extLst>
                <a:ext uri="{FF2B5EF4-FFF2-40B4-BE49-F238E27FC236}">
                  <a16:creationId xmlns:a16="http://schemas.microsoft.com/office/drawing/2014/main" xmlns="" id="{FF0BF63E-FA3F-4489-AA8A-710475BE3586}"/>
                </a:ext>
              </a:extLst>
            </p:cNvPr>
            <p:cNvSpPr txBox="1">
              <a:spLocks/>
            </p:cNvSpPr>
            <p:nvPr/>
          </p:nvSpPr>
          <p:spPr>
            <a:xfrm>
              <a:off x="6915149" y="1134244"/>
              <a:ext cx="4735501" cy="342401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>
                <a:spcBef>
                  <a:spcPts val="600"/>
                </a:spcBef>
                <a:spcAft>
                  <a:spcPts val="300"/>
                </a:spcAft>
              </a:pPr>
              <a:r>
                <a:rPr lang="en-US" altLang="ja-JP" sz="2000" dirty="0">
                  <a:ea typeface="MS PGothic" pitchFamily="34" charset="-128"/>
                </a:rPr>
                <a:t>Personalized, relevant, engaging and micro-learning, which helps employees retain knowledge</a:t>
              </a:r>
            </a:p>
            <a:p>
              <a:pPr lvl="1">
                <a:spcBef>
                  <a:spcPts val="600"/>
                </a:spcBef>
                <a:spcAft>
                  <a:spcPts val="300"/>
                </a:spcAft>
              </a:pPr>
              <a:r>
                <a:rPr lang="en-US" altLang="ja-JP" sz="2000" dirty="0">
                  <a:ea typeface="MS PGothic" pitchFamily="34" charset="-128"/>
                </a:rPr>
                <a:t>Set up tech platform for ‘on-the-go’ learning</a:t>
              </a:r>
            </a:p>
            <a:p>
              <a:pPr lvl="1">
                <a:spcBef>
                  <a:spcPts val="600"/>
                </a:spcBef>
                <a:spcAft>
                  <a:spcPts val="300"/>
                </a:spcAft>
              </a:pPr>
              <a:r>
                <a:rPr lang="en-US" altLang="ja-JP" sz="2000" dirty="0">
                  <a:ea typeface="MS PGothic" pitchFamily="34" charset="-128"/>
                </a:rPr>
                <a:t>Customize learning platform features to their field related needs</a:t>
              </a:r>
            </a:p>
            <a:p>
              <a:pPr lvl="1">
                <a:spcBef>
                  <a:spcPts val="600"/>
                </a:spcBef>
                <a:spcAft>
                  <a:spcPts val="300"/>
                </a:spcAft>
              </a:pPr>
              <a:r>
                <a:rPr lang="en-US" altLang="ja-JP" sz="2000" dirty="0">
                  <a:ea typeface="MS PGothic" pitchFamily="34" charset="-128"/>
                </a:rPr>
                <a:t>Creation of learning content in-house across 5+ skillsets and specialized soft skills for managers</a:t>
              </a: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xmlns="" id="{74947D3F-259D-42C0-84D1-844A439351E5}"/>
                </a:ext>
              </a:extLst>
            </p:cNvPr>
            <p:cNvSpPr/>
            <p:nvPr/>
          </p:nvSpPr>
          <p:spPr>
            <a:xfrm>
              <a:off x="158760" y="687939"/>
              <a:ext cx="11491890" cy="386439"/>
            </a:xfrm>
            <a:prstGeom prst="rect">
              <a:avLst/>
            </a:prstGeom>
            <a:solidFill>
              <a:schemeClr val="accent4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0" name="AutoShape 250">
              <a:extLst>
                <a:ext uri="{FF2B5EF4-FFF2-40B4-BE49-F238E27FC236}">
                  <a16:creationId xmlns:a16="http://schemas.microsoft.com/office/drawing/2014/main" xmlns="" id="{6BA7510F-FED1-4BB1-8538-03916250FC9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7649" y="718037"/>
              <a:ext cx="6257925" cy="32624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noAutofit/>
            </a:bodyPr>
            <a:lstStyle/>
            <a:p>
              <a:r>
                <a:rPr lang="pl-PL" sz="2000" b="1" dirty="0" err="1">
                  <a:solidFill>
                    <a:schemeClr val="bg1"/>
                  </a:solidFill>
                  <a:latin typeface="+mj-lt"/>
                </a:rPr>
                <a:t>Situation</a:t>
              </a:r>
              <a:endParaRPr lang="pl-PL" sz="2000" b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1" name="AutoShape 250">
              <a:extLst>
                <a:ext uri="{FF2B5EF4-FFF2-40B4-BE49-F238E27FC236}">
                  <a16:creationId xmlns:a16="http://schemas.microsoft.com/office/drawing/2014/main" xmlns="" id="{2B4B2D88-34FB-45DB-9748-10AF928C2CD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15149" y="723978"/>
              <a:ext cx="4735501" cy="32624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8288" anchor="b">
              <a:noAutofit/>
            </a:bodyPr>
            <a:lstStyle/>
            <a:p>
              <a:r>
                <a:rPr lang="en-GB" sz="2000" b="1" dirty="0">
                  <a:solidFill>
                    <a:schemeClr val="bg1"/>
                  </a:solidFill>
                  <a:latin typeface="+mj-lt"/>
                </a:rPr>
                <a:t>Priorities for the client</a:t>
              </a:r>
            </a:p>
          </p:txBody>
        </p:sp>
        <p:sp>
          <p:nvSpPr>
            <p:cNvPr id="22" name="Chevron 29">
              <a:extLst>
                <a:ext uri="{FF2B5EF4-FFF2-40B4-BE49-F238E27FC236}">
                  <a16:creationId xmlns:a16="http://schemas.microsoft.com/office/drawing/2014/main" xmlns="" id="{760B9098-0A71-4339-80DE-92FC49808609}"/>
                </a:ext>
              </a:extLst>
            </p:cNvPr>
            <p:cNvSpPr/>
            <p:nvPr/>
          </p:nvSpPr>
          <p:spPr>
            <a:xfrm>
              <a:off x="6554592" y="750017"/>
              <a:ext cx="178634" cy="274165"/>
            </a:xfrm>
            <a:prstGeom prst="chevron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550" dirty="0">
                <a:solidFill>
                  <a:schemeClr val="tx1"/>
                </a:solidFill>
                <a:latin typeface="Georgia" panose="02040502050405020303" pitchFamily="18" charset="0"/>
              </a:endParaRPr>
            </a:p>
          </p:txBody>
        </p: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xmlns="" id="{10446AF0-4F47-4A20-AA96-6BC2881BB331}"/>
                </a:ext>
              </a:extLst>
            </p:cNvPr>
            <p:cNvCxnSpPr>
              <a:cxnSpLocks/>
            </p:cNvCxnSpPr>
            <p:nvPr/>
          </p:nvCxnSpPr>
          <p:spPr>
            <a:xfrm>
              <a:off x="6587055" y="1115337"/>
              <a:ext cx="0" cy="4270400"/>
            </a:xfrm>
            <a:prstGeom prst="line">
              <a:avLst/>
            </a:prstGeom>
            <a:ln w="6350">
              <a:solidFill>
                <a:schemeClr val="accent6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03033888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54389601"/>
              </p:ext>
            </p:extLst>
          </p:nvPr>
        </p:nvGraphicFramePr>
        <p:xfrm>
          <a:off x="1495029" y="841487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5502" name="think-cell Slide" r:id="rId7" imgW="353" imgH="353" progId="TCLayout.ActiveDocument.1">
                  <p:embed/>
                </p:oleObj>
              </mc:Choice>
              <mc:Fallback>
                <p:oleObj name="think-cell Slide" r:id="rId7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495029" y="841487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46CF2D65-49B3-489A-8F12-D82BDA7255E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493837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40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4" name="Title 1"/>
          <p:cNvSpPr>
            <a:spLocks noGrp="1"/>
          </p:cNvSpPr>
          <p:nvPr>
            <p:ph type="title"/>
          </p:nvPr>
        </p:nvSpPr>
        <p:spPr>
          <a:xfrm>
            <a:off x="158759" y="230189"/>
            <a:ext cx="11491891" cy="73866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429768"/>
            <a:r>
              <a:rPr lang="en-US" dirty="0"/>
              <a:t>We incorporated multiple gamification elements and deployed </a:t>
            </a:r>
            <a:r>
              <a:rPr lang="en-US" dirty="0" err="1"/>
              <a:t>a</a:t>
            </a:r>
            <a:r>
              <a:rPr lang="en-US" dirty="0"/>
              <a:t> engaging, personalized digital microlearning platform</a:t>
            </a:r>
            <a:endParaRPr lang="en-GB" dirty="0"/>
          </a:p>
        </p:txBody>
      </p:sp>
      <p:sp>
        <p:nvSpPr>
          <p:cNvPr id="27" name="1. On-page tracker">
            <a:extLst>
              <a:ext uri="{FF2B5EF4-FFF2-40B4-BE49-F238E27FC236}">
                <a16:creationId xmlns:a16="http://schemas.microsoft.com/office/drawing/2014/main" xmlns="" id="{62C8F944-C9FF-4E50-9BFC-8D60DB94A221}"/>
              </a:ext>
            </a:extLst>
          </p:cNvPr>
          <p:cNvSpPr>
            <a:spLocks noChangeArrowheads="1"/>
          </p:cNvSpPr>
          <p:nvPr/>
        </p:nvSpPr>
        <p:spPr bwMode="gray">
          <a:xfrm>
            <a:off x="158758" y="75764"/>
            <a:ext cx="2426626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t" anchorCtr="0">
            <a:spAutoFit/>
          </a:bodyPr>
          <a:lstStyle/>
          <a:p>
            <a:pPr marL="429768"/>
            <a:r>
              <a:rPr lang="en-US" sz="800" cap="all" dirty="0">
                <a:solidFill>
                  <a:schemeClr val="accent6"/>
                </a:solidFill>
                <a:latin typeface="+mn-lt"/>
              </a:rPr>
              <a:t>Case example 4: GAMIFIED LEARNING</a:t>
            </a:r>
          </a:p>
        </p:txBody>
      </p:sp>
      <p:sp>
        <p:nvSpPr>
          <p:cNvPr id="29" name="Marvintitletrackercircle">
            <a:extLst>
              <a:ext uri="{FF2B5EF4-FFF2-40B4-BE49-F238E27FC236}">
                <a16:creationId xmlns:a16="http://schemas.microsoft.com/office/drawing/2014/main" xmlns="" id="{E096610F-1DA4-4D13-9B7E-8D9949A2A315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58759" y="217488"/>
            <a:ext cx="330200" cy="330200"/>
          </a:xfrm>
          <a:prstGeom prst="ellipse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2000" dirty="0">
                <a:solidFill>
                  <a:schemeClr val="bg1"/>
                </a:solidFill>
                <a:latin typeface="+mj-lt"/>
              </a:rPr>
              <a:t>4</a:t>
            </a:r>
            <a:endParaRPr lang="en-GB" sz="2000" dirty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1442242" y="1076218"/>
            <a:ext cx="8924925" cy="5320152"/>
            <a:chOff x="2038350" y="1076218"/>
            <a:chExt cx="8924925" cy="5320152"/>
          </a:xfrm>
        </p:grpSpPr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xmlns="" id="{F9799A97-064C-4383-BE80-DEEDD583FDA5}"/>
                </a:ext>
              </a:extLst>
            </p:cNvPr>
            <p:cNvSpPr txBox="1"/>
            <p:nvPr/>
          </p:nvSpPr>
          <p:spPr>
            <a:xfrm>
              <a:off x="2038350" y="1874259"/>
              <a:ext cx="998537" cy="55399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GB" sz="1800" b="1" dirty="0">
                  <a:solidFill>
                    <a:schemeClr val="tx2"/>
                  </a:solidFill>
                </a:rPr>
                <a:t>Adaptive learning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xmlns="" id="{286768A1-0046-4B85-950E-E22AAB51C343}"/>
                </a:ext>
              </a:extLst>
            </p:cNvPr>
            <p:cNvSpPr txBox="1">
              <a:spLocks/>
            </p:cNvSpPr>
            <p:nvPr/>
          </p:nvSpPr>
          <p:spPr>
            <a:xfrm>
              <a:off x="2142730" y="3520820"/>
              <a:ext cx="2810736" cy="553998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GB" sz="1800" b="1" dirty="0">
                  <a:solidFill>
                    <a:schemeClr val="tx2"/>
                  </a:solidFill>
                </a:rPr>
                <a:t>Boosters, social blocks and virtual recognition</a:t>
              </a:r>
            </a:p>
          </p:txBody>
        </p:sp>
        <p:grpSp>
          <p:nvGrpSpPr>
            <p:cNvPr id="11" name="Group 10"/>
            <p:cNvGrpSpPr>
              <a:grpSpLocks/>
            </p:cNvGrpSpPr>
            <p:nvPr/>
          </p:nvGrpSpPr>
          <p:grpSpPr>
            <a:xfrm>
              <a:off x="2142730" y="4133624"/>
              <a:ext cx="8820545" cy="2215991"/>
              <a:chOff x="2142730" y="4133624"/>
              <a:chExt cx="8820545" cy="2215991"/>
            </a:xfrm>
          </p:grpSpPr>
          <p:sp>
            <p:nvSpPr>
              <p:cNvPr id="37" name="TextBox 36">
                <a:extLst>
                  <a:ext uri="{FF2B5EF4-FFF2-40B4-BE49-F238E27FC236}">
                    <a16:creationId xmlns:a16="http://schemas.microsoft.com/office/drawing/2014/main" xmlns="" id="{66E10500-6B67-4F7C-880F-C9856E29A629}"/>
                  </a:ext>
                </a:extLst>
              </p:cNvPr>
              <p:cNvSpPr txBox="1"/>
              <p:nvPr>
                <p:custDataLst>
                  <p:tags r:id="rId5"/>
                </p:custDataLst>
              </p:nvPr>
            </p:nvSpPr>
            <p:spPr>
              <a:xfrm>
                <a:off x="8305593" y="4133624"/>
                <a:ext cx="2657682" cy="2215991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L="0" lvl="0" indent="0" defTabSz="895350" eaLnBrk="1" latinLnBrk="0" hangingPunct="1">
                  <a:buClr>
                    <a:schemeClr val="tx2"/>
                  </a:buClr>
                  <a:buSzPct val="100000"/>
                  <a:defRPr sz="1400" baseline="0">
                    <a:latin typeface="+mn-lt"/>
                  </a:defRPr>
                </a:lvl1pPr>
                <a:lvl2pPr marL="193675" lvl="1" indent="-192088" defTabSz="895350" eaLnBrk="1" latinLnBrk="0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sz="1400" baseline="0">
                    <a:latin typeface="+mn-lt"/>
                  </a:defRPr>
                </a:lvl2pPr>
                <a:lvl3pPr marL="457200" lvl="2" indent="-261938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sz="1400" baseline="0">
                    <a:latin typeface="+mn-lt"/>
                  </a:defRPr>
                </a:lvl3pPr>
                <a:lvl4pPr marL="614363" lvl="3" indent="-155575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sz="1400" baseline="0">
                    <a:latin typeface="+mn-lt"/>
                  </a:defRPr>
                </a:lvl4pPr>
                <a:lvl5pPr marL="749808" lvl="4" indent="-130175" defTabSz="895350" eaLnBrk="1" latinLnBrk="0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sz="1400"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 marL="1587" lvl="1" indent="0">
                  <a:spcBef>
                    <a:spcPct val="50000"/>
                  </a:spcBef>
                  <a:buNone/>
                </a:pPr>
                <a:r>
                  <a:rPr lang="en-US" sz="1800" dirty="0"/>
                  <a:t>Other features –</a:t>
                </a:r>
                <a:endParaRPr lang="en-GB" sz="1800" dirty="0"/>
              </a:p>
              <a:p>
                <a:pPr lvl="1">
                  <a:spcBef>
                    <a:spcPct val="50000"/>
                  </a:spcBef>
                </a:pPr>
                <a:r>
                  <a:rPr lang="en-GB" sz="1800" dirty="0"/>
                  <a:t>Analytics and reports</a:t>
                </a:r>
              </a:p>
              <a:p>
                <a:pPr lvl="1">
                  <a:spcBef>
                    <a:spcPct val="50000"/>
                  </a:spcBef>
                </a:pPr>
                <a:r>
                  <a:rPr lang="en-GB" sz="1800" dirty="0"/>
                  <a:t>Push notifications</a:t>
                </a:r>
              </a:p>
              <a:p>
                <a:pPr lvl="1">
                  <a:spcBef>
                    <a:spcPct val="50000"/>
                  </a:spcBef>
                </a:pPr>
                <a:r>
                  <a:rPr lang="en-US" sz="1800" dirty="0"/>
                  <a:t>I</a:t>
                </a:r>
                <a:r>
                  <a:rPr lang="en-GB" sz="1800" dirty="0" err="1"/>
                  <a:t>ntro</a:t>
                </a:r>
                <a:r>
                  <a:rPr lang="en-GB" sz="1800" dirty="0"/>
                  <a:t> to game play</a:t>
                </a:r>
              </a:p>
              <a:p>
                <a:pPr lvl="1">
                  <a:spcBef>
                    <a:spcPct val="50000"/>
                  </a:spcBef>
                </a:pPr>
                <a:r>
                  <a:rPr lang="en-US" sz="1800" dirty="0"/>
                  <a:t>User incentives: in-the-game play, real rewards</a:t>
                </a:r>
              </a:p>
            </p:txBody>
          </p:sp>
          <p:grpSp>
            <p:nvGrpSpPr>
              <p:cNvPr id="66" name="Group 65">
                <a:extLst>
                  <a:ext uri="{FF2B5EF4-FFF2-40B4-BE49-F238E27FC236}">
                    <a16:creationId xmlns:a16="http://schemas.microsoft.com/office/drawing/2014/main" xmlns="" id="{E2D9FFBF-E1E3-4BFB-B2A7-376515711412}"/>
                  </a:ext>
                </a:extLst>
              </p:cNvPr>
              <p:cNvGrpSpPr>
                <a:grpSpLocks/>
              </p:cNvGrpSpPr>
              <p:nvPr/>
            </p:nvGrpSpPr>
            <p:grpSpPr bwMode="gray">
              <a:xfrm>
                <a:off x="2142730" y="4133624"/>
                <a:ext cx="2810736" cy="2150080"/>
                <a:chOff x="476250" y="305906"/>
                <a:chExt cx="7991475" cy="6161569"/>
              </a:xfrm>
            </p:grpSpPr>
            <p:pic>
              <p:nvPicPr>
                <p:cNvPr id="68" name="Picture 67">
                  <a:extLst>
                    <a:ext uri="{FF2B5EF4-FFF2-40B4-BE49-F238E27FC236}">
                      <a16:creationId xmlns:a16="http://schemas.microsoft.com/office/drawing/2014/main" xmlns="" id="{C235065D-05E5-405D-986C-553172206A0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9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/>
              </p:blipFill>
              <p:spPr bwMode="gray">
                <a:xfrm>
                  <a:off x="476250" y="305906"/>
                  <a:ext cx="7991475" cy="6161569"/>
                </a:xfrm>
                <a:prstGeom prst="roundRect">
                  <a:avLst>
                    <a:gd name="adj" fmla="val 4668"/>
                  </a:avLst>
                </a:prstGeom>
              </p:spPr>
            </p:pic>
            <p:pic>
              <p:nvPicPr>
                <p:cNvPr id="69" name="Picture 68" descr="Screen Shot 2016-11-25 at 12.12.46 AM.png">
                  <a:extLst>
                    <a:ext uri="{FF2B5EF4-FFF2-40B4-BE49-F238E27FC236}">
                      <a16:creationId xmlns:a16="http://schemas.microsoft.com/office/drawing/2014/main" xmlns="" id="{4B993F2A-2AF9-459C-B4AF-B55917080E6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10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/>
              </p:blipFill>
              <p:spPr bwMode="gray">
                <a:xfrm>
                  <a:off x="939800" y="776840"/>
                  <a:ext cx="6974261" cy="5219700"/>
                </a:xfrm>
                <a:prstGeom prst="rect">
                  <a:avLst/>
                </a:prstGeom>
              </p:spPr>
            </p:pic>
          </p:grpSp>
        </p:grpSp>
        <p:grpSp>
          <p:nvGrpSpPr>
            <p:cNvPr id="72" name="Group 71">
              <a:extLst>
                <a:ext uri="{FF2B5EF4-FFF2-40B4-BE49-F238E27FC236}">
                  <a16:creationId xmlns:a16="http://schemas.microsoft.com/office/drawing/2014/main" xmlns="" id="{B42BE731-2BD2-4ACB-8542-E3F79C5FAF6A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5202301" y="4130096"/>
              <a:ext cx="2810736" cy="2150080"/>
              <a:chOff x="476249" y="305906"/>
              <a:chExt cx="7991474" cy="6161569"/>
            </a:xfrm>
          </p:grpSpPr>
          <p:pic>
            <p:nvPicPr>
              <p:cNvPr id="73" name="Picture 72">
                <a:extLst>
                  <a:ext uri="{FF2B5EF4-FFF2-40B4-BE49-F238E27FC236}">
                    <a16:creationId xmlns:a16="http://schemas.microsoft.com/office/drawing/2014/main" xmlns="" id="{0FAD0AFC-D675-451B-AD39-DD0759B2A99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 bwMode="gray">
              <a:xfrm>
                <a:off x="476249" y="305906"/>
                <a:ext cx="7991474" cy="6161569"/>
              </a:xfrm>
              <a:prstGeom prst="roundRect">
                <a:avLst>
                  <a:gd name="adj" fmla="val 4668"/>
                </a:avLst>
              </a:prstGeom>
            </p:spPr>
          </p:pic>
          <p:pic>
            <p:nvPicPr>
              <p:cNvPr id="75" name="Picture 74" descr="Screen Shot 2016-11-25 at 12.15.49 AM.png">
                <a:extLst>
                  <a:ext uri="{FF2B5EF4-FFF2-40B4-BE49-F238E27FC236}">
                    <a16:creationId xmlns:a16="http://schemas.microsoft.com/office/drawing/2014/main" xmlns="" id="{56AC5F87-74C3-4A06-BA92-BBC4A07DC3D8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 bwMode="gray">
              <a:xfrm>
                <a:off x="939801" y="776840"/>
                <a:ext cx="6974261" cy="5219700"/>
              </a:xfrm>
              <a:prstGeom prst="rect">
                <a:avLst/>
              </a:prstGeom>
            </p:spPr>
          </p:pic>
        </p:grp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xmlns="" id="{6A8ECB3A-025B-42AD-8ECA-FDD55C9CCD70}"/>
                </a:ext>
              </a:extLst>
            </p:cNvPr>
            <p:cNvGrpSpPr/>
            <p:nvPr/>
          </p:nvGrpSpPr>
          <p:grpSpPr>
            <a:xfrm>
              <a:off x="3328125" y="1076218"/>
              <a:ext cx="5621472" cy="2150080"/>
              <a:chOff x="1984582" y="980938"/>
              <a:chExt cx="5621472" cy="2150080"/>
            </a:xfrm>
          </p:grpSpPr>
          <p:grpSp>
            <p:nvGrpSpPr>
              <p:cNvPr id="62" name="Group 61">
                <a:extLst>
                  <a:ext uri="{FF2B5EF4-FFF2-40B4-BE49-F238E27FC236}">
                    <a16:creationId xmlns:a16="http://schemas.microsoft.com/office/drawing/2014/main" xmlns="" id="{CE289CE6-07CB-4663-B9E0-43BF2D4DBFA3}"/>
                  </a:ext>
                </a:extLst>
              </p:cNvPr>
              <p:cNvGrpSpPr>
                <a:grpSpLocks/>
              </p:cNvGrpSpPr>
              <p:nvPr/>
            </p:nvGrpSpPr>
            <p:grpSpPr bwMode="gray">
              <a:xfrm>
                <a:off x="4795318" y="980938"/>
                <a:ext cx="2810736" cy="2128792"/>
                <a:chOff x="476250" y="305906"/>
                <a:chExt cx="7991475" cy="6161569"/>
              </a:xfrm>
            </p:grpSpPr>
            <p:pic>
              <p:nvPicPr>
                <p:cNvPr id="64" name="Picture 63">
                  <a:extLst>
                    <a:ext uri="{FF2B5EF4-FFF2-40B4-BE49-F238E27FC236}">
                      <a16:creationId xmlns:a16="http://schemas.microsoft.com/office/drawing/2014/main" xmlns="" id="{844505FE-63D7-404D-A4D9-E3313F7D877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9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/>
              </p:blipFill>
              <p:spPr bwMode="gray">
                <a:xfrm>
                  <a:off x="476250" y="305906"/>
                  <a:ext cx="7991475" cy="6161569"/>
                </a:xfrm>
                <a:prstGeom prst="roundRect">
                  <a:avLst>
                    <a:gd name="adj" fmla="val 4668"/>
                  </a:avLst>
                </a:prstGeom>
              </p:spPr>
            </p:pic>
            <p:pic>
              <p:nvPicPr>
                <p:cNvPr id="65" name="Picture 64" descr="Screen Shot 2016-11-25 at 12.09.04 AM.png">
                  <a:extLst>
                    <a:ext uri="{FF2B5EF4-FFF2-40B4-BE49-F238E27FC236}">
                      <a16:creationId xmlns:a16="http://schemas.microsoft.com/office/drawing/2014/main" xmlns="" id="{2154CEB9-8BA4-4461-9566-AA618C3632F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1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/>
              </p:blipFill>
              <p:spPr bwMode="gray">
                <a:xfrm>
                  <a:off x="939800" y="776840"/>
                  <a:ext cx="6968726" cy="5219700"/>
                </a:xfrm>
                <a:prstGeom prst="rect">
                  <a:avLst/>
                </a:prstGeom>
              </p:spPr>
            </p:pic>
          </p:grpSp>
          <p:grpSp>
            <p:nvGrpSpPr>
              <p:cNvPr id="76" name="Group 75">
                <a:extLst>
                  <a:ext uri="{FF2B5EF4-FFF2-40B4-BE49-F238E27FC236}">
                    <a16:creationId xmlns:a16="http://schemas.microsoft.com/office/drawing/2014/main" xmlns="" id="{36F4094C-60E0-4988-9CA0-FD2F4F724EEB}"/>
                  </a:ext>
                </a:extLst>
              </p:cNvPr>
              <p:cNvGrpSpPr>
                <a:grpSpLocks/>
              </p:cNvGrpSpPr>
              <p:nvPr/>
            </p:nvGrpSpPr>
            <p:grpSpPr bwMode="gray">
              <a:xfrm>
                <a:off x="1984582" y="980938"/>
                <a:ext cx="2810736" cy="2150080"/>
                <a:chOff x="476250" y="305906"/>
                <a:chExt cx="7991475" cy="6161569"/>
              </a:xfrm>
            </p:grpSpPr>
            <p:pic>
              <p:nvPicPr>
                <p:cNvPr id="77" name="Picture 76">
                  <a:extLst>
                    <a:ext uri="{FF2B5EF4-FFF2-40B4-BE49-F238E27FC236}">
                      <a16:creationId xmlns:a16="http://schemas.microsoft.com/office/drawing/2014/main" xmlns="" id="{B5F8F529-2D86-46A3-BFA4-02BF43C4931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9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/>
              </p:blipFill>
              <p:spPr bwMode="gray">
                <a:xfrm>
                  <a:off x="476250" y="305906"/>
                  <a:ext cx="7991475" cy="6161569"/>
                </a:xfrm>
                <a:prstGeom prst="roundRect">
                  <a:avLst>
                    <a:gd name="adj" fmla="val 4668"/>
                  </a:avLst>
                </a:prstGeom>
              </p:spPr>
            </p:pic>
            <p:pic>
              <p:nvPicPr>
                <p:cNvPr id="78" name="Picture 77" descr="Screen Shot 2016-11-25 at 12.06.15 AM.png">
                  <a:extLst>
                    <a:ext uri="{FF2B5EF4-FFF2-40B4-BE49-F238E27FC236}">
                      <a16:creationId xmlns:a16="http://schemas.microsoft.com/office/drawing/2014/main" xmlns="" id="{65B22AE2-062F-45ED-8F2F-E36D24E9671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1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/>
              </p:blipFill>
              <p:spPr bwMode="gray">
                <a:xfrm>
                  <a:off x="956750" y="785975"/>
                  <a:ext cx="6942651" cy="5201429"/>
                </a:xfrm>
                <a:prstGeom prst="rect">
                  <a:avLst/>
                </a:prstGeom>
                <a:ln>
                  <a:noFill/>
                </a:ln>
              </p:spPr>
            </p:pic>
          </p:grpSp>
        </p:grpSp>
        <p:sp>
          <p:nvSpPr>
            <p:cNvPr id="80" name="TextBox 79">
              <a:extLst>
                <a:ext uri="{FF2B5EF4-FFF2-40B4-BE49-F238E27FC236}">
                  <a16:creationId xmlns:a16="http://schemas.microsoft.com/office/drawing/2014/main" xmlns="" id="{CBB74516-8EC6-45AB-AB2A-4FFBCB285358}"/>
                </a:ext>
              </a:extLst>
            </p:cNvPr>
            <p:cNvSpPr txBox="1"/>
            <p:nvPr/>
          </p:nvSpPr>
          <p:spPr>
            <a:xfrm>
              <a:off x="5203862" y="3797819"/>
              <a:ext cx="2785776" cy="2769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GB" sz="1800" b="1" dirty="0" err="1">
                  <a:solidFill>
                    <a:schemeClr val="tx2"/>
                  </a:solidFill>
                </a:rPr>
                <a:t>Leaderboards</a:t>
              </a:r>
              <a:endParaRPr lang="en-GB" sz="1800" b="1" dirty="0">
                <a:solidFill>
                  <a:schemeClr val="tx2"/>
                </a:solidFill>
              </a:endParaRPr>
            </a:p>
          </p:txBody>
        </p:sp>
        <p:cxnSp>
          <p:nvCxnSpPr>
            <p:cNvPr id="7" name="Straight Connector 6"/>
            <p:cNvCxnSpPr>
              <a:cxnSpLocks/>
            </p:cNvCxnSpPr>
            <p:nvPr/>
          </p:nvCxnSpPr>
          <p:spPr>
            <a:xfrm>
              <a:off x="2111035" y="3373559"/>
              <a:ext cx="8820545" cy="0"/>
            </a:xfrm>
            <a:prstGeom prst="line">
              <a:avLst/>
            </a:prstGeom>
            <a:ln w="19050">
              <a:solidFill>
                <a:schemeClr val="accent6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>
              <a:off x="8159315" y="4133624"/>
              <a:ext cx="0" cy="2262746"/>
            </a:xfrm>
            <a:prstGeom prst="line">
              <a:avLst/>
            </a:prstGeom>
            <a:ln>
              <a:solidFill>
                <a:schemeClr val="accent6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236001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08633847"/>
              </p:ext>
            </p:extLst>
          </p:nvPr>
        </p:nvGraphicFramePr>
        <p:xfrm>
          <a:off x="2615060" y="1471383"/>
          <a:ext cx="892" cy="8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6527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615060" y="1471383"/>
                        <a:ext cx="892" cy="89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03421696-EBFA-4A93-874F-867A3A2F577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493837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40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58759" y="230189"/>
            <a:ext cx="11491891" cy="73866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429768"/>
            <a:r>
              <a:rPr lang="en-US" dirty="0"/>
              <a:t>Impact we had: Sales Ninja received unaided large-scale adoption </a:t>
            </a:r>
            <a:br>
              <a:rPr lang="en-US" dirty="0"/>
            </a:br>
            <a:r>
              <a:rPr lang="en-US" dirty="0"/>
              <a:t>and engagement</a:t>
            </a:r>
          </a:p>
        </p:txBody>
      </p:sp>
      <p:sp>
        <p:nvSpPr>
          <p:cNvPr id="16" name="5. Source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/>
          <a:p>
            <a:pPr marL="493713" indent="-493713" defTabSz="671513">
              <a:tabLst>
                <a:tab pos="472679" algn="l"/>
              </a:tabLst>
            </a:pPr>
            <a:r>
              <a:rPr lang="en-US" sz="800" dirty="0">
                <a:solidFill>
                  <a:schemeClr val="accent6"/>
                </a:solidFill>
                <a:latin typeface="+mn-lt"/>
              </a:rPr>
              <a:t>SOURCE: McKinsey Pharma Sales &amp; Marketing Practice</a:t>
            </a:r>
          </a:p>
        </p:txBody>
      </p:sp>
      <p:sp>
        <p:nvSpPr>
          <p:cNvPr id="17" name="4. Footnote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104775" indent="-104775" defTabSz="895350">
              <a:defRPr sz="800" baseline="0">
                <a:solidFill>
                  <a:schemeClr val="accent6"/>
                </a:solidFill>
                <a:latin typeface="+mn-lt"/>
              </a:defRPr>
            </a:lvl1pPr>
            <a:lvl2pPr marL="1031875" defTabSz="895350">
              <a:defRPr sz="2400"/>
            </a:lvl2pPr>
            <a:lvl3pPr marL="1217613" defTabSz="895350">
              <a:defRPr sz="2400"/>
            </a:lvl3pPr>
            <a:lvl4pPr marL="1404938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pPr marL="85725" indent="-85725"/>
            <a:r>
              <a:rPr lang="en-US" dirty="0"/>
              <a:t>NOTE: Analysis based on Sales Ninja backend data for pharma client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177773" y="1046641"/>
            <a:ext cx="11472876" cy="5173184"/>
            <a:chOff x="1812245" y="1666877"/>
            <a:chExt cx="8372884" cy="3775380"/>
          </a:xfrm>
        </p:grpSpPr>
        <p:sp>
          <p:nvSpPr>
            <p:cNvPr id="63" name="Freeform 62"/>
            <p:cNvSpPr/>
            <p:nvPr/>
          </p:nvSpPr>
          <p:spPr bwMode="gray">
            <a:xfrm>
              <a:off x="3541159" y="4649273"/>
              <a:ext cx="6643970" cy="792984"/>
            </a:xfrm>
            <a:custGeom>
              <a:avLst/>
              <a:gdLst>
                <a:gd name="connsiteX0" fmla="*/ 0 w 9453562"/>
                <a:gd name="connsiteY0" fmla="*/ 0 h 1347425"/>
                <a:gd name="connsiteX1" fmla="*/ 4842697 w 9453562"/>
                <a:gd name="connsiteY1" fmla="*/ 0 h 1347425"/>
                <a:gd name="connsiteX2" fmla="*/ 5027544 w 9453562"/>
                <a:gd name="connsiteY2" fmla="*/ 259048 h 1347425"/>
                <a:gd name="connsiteX3" fmla="*/ 5212391 w 9453562"/>
                <a:gd name="connsiteY3" fmla="*/ 0 h 1347425"/>
                <a:gd name="connsiteX4" fmla="*/ 5719735 w 9453562"/>
                <a:gd name="connsiteY4" fmla="*/ 0 h 1347425"/>
                <a:gd name="connsiteX5" fmla="*/ 5904582 w 9453562"/>
                <a:gd name="connsiteY5" fmla="*/ 259048 h 1347425"/>
                <a:gd name="connsiteX6" fmla="*/ 6089429 w 9453562"/>
                <a:gd name="connsiteY6" fmla="*/ 0 h 1347425"/>
                <a:gd name="connsiteX7" fmla="*/ 6593584 w 9453562"/>
                <a:gd name="connsiteY7" fmla="*/ 0 h 1347425"/>
                <a:gd name="connsiteX8" fmla="*/ 6778431 w 9453562"/>
                <a:gd name="connsiteY8" fmla="*/ 259048 h 1347425"/>
                <a:gd name="connsiteX9" fmla="*/ 6963278 w 9453562"/>
                <a:gd name="connsiteY9" fmla="*/ 0 h 1347425"/>
                <a:gd name="connsiteX10" fmla="*/ 9453562 w 9453562"/>
                <a:gd name="connsiteY10" fmla="*/ 0 h 1347425"/>
                <a:gd name="connsiteX11" fmla="*/ 9453562 w 9453562"/>
                <a:gd name="connsiteY11" fmla="*/ 1347425 h 1347425"/>
                <a:gd name="connsiteX12" fmla="*/ 0 w 9453562"/>
                <a:gd name="connsiteY12" fmla="*/ 1347425 h 1347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453562" h="1347425">
                  <a:moveTo>
                    <a:pt x="0" y="0"/>
                  </a:moveTo>
                  <a:lnTo>
                    <a:pt x="4842697" y="0"/>
                  </a:lnTo>
                  <a:lnTo>
                    <a:pt x="5027544" y="259048"/>
                  </a:lnTo>
                  <a:lnTo>
                    <a:pt x="5212391" y="0"/>
                  </a:lnTo>
                  <a:lnTo>
                    <a:pt x="5719735" y="0"/>
                  </a:lnTo>
                  <a:lnTo>
                    <a:pt x="5904582" y="259048"/>
                  </a:lnTo>
                  <a:lnTo>
                    <a:pt x="6089429" y="0"/>
                  </a:lnTo>
                  <a:lnTo>
                    <a:pt x="6593584" y="0"/>
                  </a:lnTo>
                  <a:lnTo>
                    <a:pt x="6778431" y="259048"/>
                  </a:lnTo>
                  <a:lnTo>
                    <a:pt x="6963278" y="0"/>
                  </a:lnTo>
                  <a:lnTo>
                    <a:pt x="9453562" y="0"/>
                  </a:lnTo>
                  <a:lnTo>
                    <a:pt x="9453562" y="1347425"/>
                  </a:lnTo>
                  <a:lnTo>
                    <a:pt x="0" y="1347425"/>
                  </a:lnTo>
                  <a:close/>
                </a:path>
              </a:pathLst>
            </a:custGeom>
            <a:solidFill>
              <a:schemeClr val="tx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 dirty="0" err="1">
                <a:solidFill>
                  <a:schemeClr val="tx1"/>
                </a:solidFill>
              </a:endParaRPr>
            </a:p>
          </p:txBody>
        </p:sp>
        <p:sp>
          <p:nvSpPr>
            <p:cNvPr id="8" name="TextBox 7"/>
            <p:cNvSpPr txBox="1">
              <a:spLocks/>
            </p:cNvSpPr>
            <p:nvPr/>
          </p:nvSpPr>
          <p:spPr bwMode="gray">
            <a:xfrm>
              <a:off x="4160417" y="2012487"/>
              <a:ext cx="728828" cy="353768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defPPr>
                <a:defRPr lang="en-US"/>
              </a:defPPr>
              <a:lvl1pPr marL="0" lvl="0" indent="0" algn="r" defTabSz="1193860" eaLnBrk="1" hangingPunct="1">
                <a:lnSpc>
                  <a:spcPct val="90000"/>
                </a:lnSpc>
                <a:buClr>
                  <a:schemeClr val="tx2"/>
                </a:buClr>
                <a:defRPr sz="5000" baseline="0">
                  <a:solidFill>
                    <a:srgbClr val="FFFFFF"/>
                  </a:solidFill>
                  <a:latin typeface="Calibri" panose="020F0502020204030204" pitchFamily="34" charset="0"/>
                </a:defRPr>
              </a:lvl1pPr>
              <a:lvl2pPr marL="258246" lvl="1" indent="-256130" defTabSz="119386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609630" lvl="2" indent="-349268" defTabSz="119386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819192" lvl="3" indent="-207444" defTabSz="119386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999794" lvl="4" indent="-173575" defTabSz="119386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algn="ctr"/>
              <a:r>
                <a:rPr lang="en-US" sz="3500" dirty="0">
                  <a:solidFill>
                    <a:schemeClr val="tx2"/>
                  </a:solidFill>
                </a:rPr>
                <a:t>91%+</a:t>
              </a:r>
            </a:p>
          </p:txBody>
        </p:sp>
        <p:sp>
          <p:nvSpPr>
            <p:cNvPr id="9" name="Title 3"/>
            <p:cNvSpPr txBox="1">
              <a:spLocks/>
            </p:cNvSpPr>
            <p:nvPr/>
          </p:nvSpPr>
          <p:spPr bwMode="gray">
            <a:xfrm>
              <a:off x="3887839" y="2397746"/>
              <a:ext cx="1273988" cy="336922"/>
            </a:xfrm>
            <a:prstGeom prst="rect">
              <a:avLst/>
            </a:prstGeom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rtlCol="0">
              <a:spAutoFit/>
            </a:bodyPr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800" baseline="0"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algn="ctr"/>
              <a:r>
                <a:rPr lang="en-US" sz="1500" dirty="0" err="1"/>
                <a:t>Self adoption</a:t>
              </a:r>
              <a:r>
                <a:rPr lang="en-US" sz="1500" dirty="0"/>
                <a:t> across</a:t>
              </a:r>
              <a:br>
                <a:rPr lang="en-US" sz="1500" dirty="0"/>
              </a:br>
              <a:r>
                <a:rPr lang="en-US" sz="1500" dirty="0"/>
                <a:t>field force</a:t>
              </a:r>
            </a:p>
          </p:txBody>
        </p:sp>
        <p:sp>
          <p:nvSpPr>
            <p:cNvPr id="11" name="TextBox 10"/>
            <p:cNvSpPr txBox="1">
              <a:spLocks/>
            </p:cNvSpPr>
            <p:nvPr/>
          </p:nvSpPr>
          <p:spPr bwMode="gray">
            <a:xfrm>
              <a:off x="3834622" y="3154555"/>
              <a:ext cx="1241231" cy="707536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0" lvl="0" indent="0" defTabSz="119386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258246" lvl="1" indent="-256130" defTabSz="119386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609630" lvl="2" indent="-349268" defTabSz="119386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819192" lvl="3" indent="-207444" defTabSz="119386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999794" lvl="4" indent="-173575" defTabSz="119386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algn="ctr">
                <a:lnSpc>
                  <a:spcPct val="90000"/>
                </a:lnSpc>
              </a:pPr>
              <a:r>
                <a:rPr lang="en-US" sz="3500" dirty="0">
                  <a:solidFill>
                    <a:schemeClr val="tx2"/>
                  </a:solidFill>
                  <a:latin typeface="Calibri" panose="020F0502020204030204" pitchFamily="34" charset="0"/>
                </a:rPr>
                <a:t>~500,000</a:t>
              </a:r>
              <a:br>
                <a:rPr lang="en-US" sz="3500" dirty="0">
                  <a:solidFill>
                    <a:schemeClr val="tx2"/>
                  </a:solidFill>
                  <a:latin typeface="Calibri" panose="020F0502020204030204" pitchFamily="34" charset="0"/>
                </a:rPr>
              </a:br>
              <a:r>
                <a:rPr lang="en-US" sz="3500" dirty="0">
                  <a:solidFill>
                    <a:schemeClr val="tx2"/>
                  </a:solidFill>
                  <a:latin typeface="Calibri" panose="020F0502020204030204" pitchFamily="34" charset="0"/>
                </a:rPr>
                <a:t>mins+</a:t>
              </a:r>
              <a:endParaRPr lang="en-US" sz="3500" baseline="30000" dirty="0">
                <a:solidFill>
                  <a:schemeClr val="tx2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2" name="Title 3"/>
            <p:cNvSpPr txBox="1">
              <a:spLocks/>
            </p:cNvSpPr>
            <p:nvPr/>
          </p:nvSpPr>
          <p:spPr bwMode="gray">
            <a:xfrm>
              <a:off x="4004838" y="4124197"/>
              <a:ext cx="900799" cy="336922"/>
            </a:xfrm>
            <a:prstGeom prst="rect">
              <a:avLst/>
            </a:prstGeom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rtlCol="0">
              <a:spAutoFit/>
            </a:bodyPr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800" baseline="0"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algn="ctr"/>
              <a:r>
                <a:rPr lang="en-US" sz="1500" dirty="0"/>
                <a:t>spent on</a:t>
              </a:r>
              <a:br>
                <a:rPr lang="en-US" sz="1500" dirty="0"/>
              </a:br>
              <a:r>
                <a:rPr lang="en-US" sz="1500" dirty="0"/>
                <a:t>Ninja learning </a:t>
              </a:r>
            </a:p>
          </p:txBody>
        </p:sp>
        <p:cxnSp>
          <p:nvCxnSpPr>
            <p:cNvPr id="23" name="Straight Connector 22"/>
            <p:cNvCxnSpPr>
              <a:endCxn id="63" idx="12"/>
            </p:cNvCxnSpPr>
            <p:nvPr/>
          </p:nvCxnSpPr>
          <p:spPr bwMode="gray">
            <a:xfrm>
              <a:off x="3541159" y="1873192"/>
              <a:ext cx="0" cy="3569065"/>
            </a:xfrm>
            <a:prstGeom prst="line">
              <a:avLst/>
            </a:prstGeom>
            <a:ln w="190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2" name="TextBox 61"/>
            <p:cNvSpPr txBox="1">
              <a:spLocks/>
            </p:cNvSpPr>
            <p:nvPr/>
          </p:nvSpPr>
          <p:spPr bwMode="gray">
            <a:xfrm>
              <a:off x="4084740" y="4906192"/>
              <a:ext cx="1617430" cy="389594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defPPr>
                <a:defRPr lang="en-US"/>
              </a:defPPr>
              <a:lvl1pPr marL="0" lvl="0" indent="0" algn="r" defTabSz="1193860" eaLnBrk="1" hangingPunct="1">
                <a:lnSpc>
                  <a:spcPct val="90000"/>
                </a:lnSpc>
                <a:buClr>
                  <a:schemeClr val="tx2"/>
                </a:buClr>
                <a:defRPr sz="5000" baseline="0">
                  <a:solidFill>
                    <a:srgbClr val="FFFFFF"/>
                  </a:solidFill>
                  <a:latin typeface="Calibri" panose="020F0502020204030204" pitchFamily="34" charset="0"/>
                </a:defRPr>
              </a:lvl1pPr>
              <a:lvl2pPr marL="258246" lvl="1" indent="-256130" defTabSz="119386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609630" lvl="2" indent="-349268" defTabSz="119386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819192" lvl="3" indent="-207444" defTabSz="119386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999794" lvl="4" indent="-173575" defTabSz="119386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algn="ctr"/>
              <a:r>
                <a:rPr lang="en-US" sz="2813" dirty="0">
                  <a:solidFill>
                    <a:schemeClr val="bg2"/>
                  </a:solidFill>
                </a:rPr>
                <a:t>7,300,000</a:t>
              </a:r>
              <a:r>
                <a:rPr lang="en-US" sz="2475" dirty="0">
                  <a:solidFill>
                    <a:schemeClr val="bg2"/>
                  </a:solidFill>
                </a:rPr>
                <a:t>+</a:t>
              </a:r>
            </a:p>
          </p:txBody>
        </p:sp>
        <p:sp>
          <p:nvSpPr>
            <p:cNvPr id="65" name="Title 3"/>
            <p:cNvSpPr txBox="1">
              <a:spLocks/>
            </p:cNvSpPr>
            <p:nvPr/>
          </p:nvSpPr>
          <p:spPr bwMode="gray">
            <a:xfrm>
              <a:off x="6072145" y="4825078"/>
              <a:ext cx="924227" cy="519501"/>
            </a:xfrm>
            <a:prstGeom prst="rect">
              <a:avLst/>
            </a:prstGeom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rtlCol="0">
              <a:spAutoFit/>
            </a:bodyPr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800" baseline="0"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algn="ctr">
                <a:buClr>
                  <a:schemeClr val="bg1"/>
                </a:buClr>
              </a:pPr>
              <a:r>
                <a:rPr lang="en-US" sz="1688" dirty="0">
                  <a:solidFill>
                    <a:schemeClr val="bg1"/>
                  </a:solidFill>
                </a:rPr>
                <a:t>XP points</a:t>
              </a:r>
              <a:br>
                <a:rPr lang="en-US" sz="1688" dirty="0">
                  <a:solidFill>
                    <a:schemeClr val="bg1"/>
                  </a:solidFill>
                </a:rPr>
              </a:br>
              <a:r>
                <a:rPr lang="en-US" sz="1688" dirty="0">
                  <a:solidFill>
                    <a:schemeClr val="bg1"/>
                  </a:solidFill>
                </a:rPr>
                <a:t>earned</a:t>
              </a:r>
            </a:p>
          </p:txBody>
        </p:sp>
        <p:sp>
          <p:nvSpPr>
            <p:cNvPr id="68" name="TextBox 67"/>
            <p:cNvSpPr txBox="1">
              <a:spLocks/>
            </p:cNvSpPr>
            <p:nvPr/>
          </p:nvSpPr>
          <p:spPr bwMode="gray">
            <a:xfrm>
              <a:off x="7853060" y="4906192"/>
              <a:ext cx="623569" cy="389594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defPPr>
                <a:defRPr lang="en-US"/>
              </a:defPPr>
              <a:lvl1pPr marL="0" lvl="0" indent="0" algn="r" defTabSz="1193860" eaLnBrk="1" hangingPunct="1">
                <a:lnSpc>
                  <a:spcPct val="90000"/>
                </a:lnSpc>
                <a:buClr>
                  <a:schemeClr val="tx2"/>
                </a:buClr>
                <a:defRPr sz="5000" baseline="0">
                  <a:solidFill>
                    <a:srgbClr val="FFFFFF"/>
                  </a:solidFill>
                  <a:latin typeface="Calibri" panose="020F0502020204030204" pitchFamily="34" charset="0"/>
                </a:defRPr>
              </a:lvl1pPr>
              <a:lvl2pPr marL="258246" lvl="1" indent="-256130" defTabSz="119386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609630" lvl="2" indent="-349268" defTabSz="119386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819192" lvl="3" indent="-207444" defTabSz="119386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999794" lvl="4" indent="-173575" defTabSz="119386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algn="ctr"/>
              <a:r>
                <a:rPr lang="en-US" sz="2813" dirty="0">
                  <a:solidFill>
                    <a:schemeClr val="bg2"/>
                  </a:solidFill>
                </a:rPr>
                <a:t>63%</a:t>
              </a:r>
              <a:endParaRPr lang="en-US" sz="2475" dirty="0">
                <a:solidFill>
                  <a:schemeClr val="bg2"/>
                </a:solidFill>
              </a:endParaRPr>
            </a:p>
          </p:txBody>
        </p:sp>
        <p:sp>
          <p:nvSpPr>
            <p:cNvPr id="69" name="Title 3"/>
            <p:cNvSpPr txBox="1">
              <a:spLocks/>
            </p:cNvSpPr>
            <p:nvPr/>
          </p:nvSpPr>
          <p:spPr bwMode="gray">
            <a:xfrm>
              <a:off x="8869901" y="4987308"/>
              <a:ext cx="868828" cy="259751"/>
            </a:xfrm>
            <a:prstGeom prst="rect">
              <a:avLst/>
            </a:prstGeom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rtlCol="0">
              <a:spAutoFit/>
            </a:bodyPr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800" baseline="0"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algn="ctr">
                <a:buClr>
                  <a:schemeClr val="bg1"/>
                </a:buClr>
              </a:pPr>
              <a:r>
                <a:rPr lang="en-US" sz="1688" dirty="0">
                  <a:solidFill>
                    <a:schemeClr val="bg1"/>
                  </a:solidFill>
                </a:rPr>
                <a:t>accuracy</a:t>
              </a:r>
            </a:p>
          </p:txBody>
        </p:sp>
        <p:sp>
          <p:nvSpPr>
            <p:cNvPr id="70" name="Title 3"/>
            <p:cNvSpPr txBox="1">
              <a:spLocks/>
            </p:cNvSpPr>
            <p:nvPr/>
          </p:nvSpPr>
          <p:spPr bwMode="gray">
            <a:xfrm>
              <a:off x="7203376" y="4911601"/>
              <a:ext cx="322204" cy="380873"/>
            </a:xfrm>
            <a:prstGeom prst="rect">
              <a:avLst/>
            </a:prstGeom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rtlCol="0">
              <a:spAutoFit/>
            </a:bodyPr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800" baseline="0"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algn="ctr">
                <a:buClr>
                  <a:schemeClr val="bg1"/>
                </a:buClr>
              </a:pPr>
              <a:r>
                <a:rPr lang="en-US" sz="2475" dirty="0">
                  <a:solidFill>
                    <a:schemeClr val="bg1"/>
                  </a:solidFill>
                </a:rPr>
                <a:t>@</a:t>
              </a:r>
            </a:p>
          </p:txBody>
        </p:sp>
        <p:sp>
          <p:nvSpPr>
            <p:cNvPr id="74" name="Title 1"/>
            <p:cNvSpPr txBox="1">
              <a:spLocks/>
            </p:cNvSpPr>
            <p:nvPr/>
          </p:nvSpPr>
          <p:spPr bwMode="gray">
            <a:xfrm>
              <a:off x="1812245" y="1666877"/>
              <a:ext cx="1506732" cy="276998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algn="l" defTabSz="1193860" rtl="0" eaLnBrk="1" fontAlgn="base" hangingPunct="1">
                <a:spcBef>
                  <a:spcPct val="0"/>
                </a:spcBef>
                <a:spcAft>
                  <a:spcPct val="0"/>
                </a:spcAft>
                <a:tabLst>
                  <a:tab pos="359851" algn="l"/>
                </a:tabLst>
                <a:defRPr sz="2000" b="0" baseline="0">
                  <a:solidFill>
                    <a:schemeClr val="tx2"/>
                  </a:solidFill>
                  <a:latin typeface="+mj-lt"/>
                  <a:ea typeface="+mj-ea"/>
                  <a:cs typeface="+mj-cs"/>
                </a:defRPr>
              </a:lvl1pPr>
              <a:lvl2pPr algn="l" defTabSz="1193860" rtl="0" eaLnBrk="1" fontAlgn="base" hangingPunct="1">
                <a:spcBef>
                  <a:spcPct val="0"/>
                </a:spcBef>
                <a:spcAft>
                  <a:spcPct val="0"/>
                </a:spcAft>
                <a:defRPr sz="2533" b="1">
                  <a:solidFill>
                    <a:schemeClr val="tx2"/>
                  </a:solidFill>
                  <a:latin typeface="Arial" charset="0"/>
                </a:defRPr>
              </a:lvl2pPr>
              <a:lvl3pPr algn="l" defTabSz="1193860" rtl="0" eaLnBrk="1" fontAlgn="base" hangingPunct="1">
                <a:spcBef>
                  <a:spcPct val="0"/>
                </a:spcBef>
                <a:spcAft>
                  <a:spcPct val="0"/>
                </a:spcAft>
                <a:defRPr sz="2533" b="1">
                  <a:solidFill>
                    <a:schemeClr val="tx2"/>
                  </a:solidFill>
                  <a:latin typeface="Arial" charset="0"/>
                </a:defRPr>
              </a:lvl3pPr>
              <a:lvl4pPr algn="l" defTabSz="1193860" rtl="0" eaLnBrk="1" fontAlgn="base" hangingPunct="1">
                <a:spcBef>
                  <a:spcPct val="0"/>
                </a:spcBef>
                <a:spcAft>
                  <a:spcPct val="0"/>
                </a:spcAft>
                <a:defRPr sz="2533" b="1">
                  <a:solidFill>
                    <a:schemeClr val="tx2"/>
                  </a:solidFill>
                  <a:latin typeface="Arial" charset="0"/>
                </a:defRPr>
              </a:lvl4pPr>
              <a:lvl5pPr algn="l" defTabSz="1193860" rtl="0" eaLnBrk="1" fontAlgn="base" hangingPunct="1">
                <a:spcBef>
                  <a:spcPct val="0"/>
                </a:spcBef>
                <a:spcAft>
                  <a:spcPct val="0"/>
                </a:spcAft>
                <a:defRPr sz="2533" b="1">
                  <a:solidFill>
                    <a:schemeClr val="tx2"/>
                  </a:solidFill>
                  <a:latin typeface="Arial" charset="0"/>
                </a:defRPr>
              </a:lvl5pPr>
              <a:lvl6pPr marL="609630" algn="l" defTabSz="1193860" rtl="0" eaLnBrk="1" fontAlgn="base" hangingPunct="1">
                <a:spcBef>
                  <a:spcPct val="0"/>
                </a:spcBef>
                <a:spcAft>
                  <a:spcPct val="0"/>
                </a:spcAft>
                <a:defRPr sz="2533" b="1">
                  <a:solidFill>
                    <a:schemeClr val="tx2"/>
                  </a:solidFill>
                  <a:latin typeface="Arial" charset="0"/>
                </a:defRPr>
              </a:lvl6pPr>
              <a:lvl7pPr marL="1219261" algn="l" defTabSz="1193860" rtl="0" eaLnBrk="1" fontAlgn="base" hangingPunct="1">
                <a:spcBef>
                  <a:spcPct val="0"/>
                </a:spcBef>
                <a:spcAft>
                  <a:spcPct val="0"/>
                </a:spcAft>
                <a:defRPr sz="2533" b="1">
                  <a:solidFill>
                    <a:schemeClr val="tx2"/>
                  </a:solidFill>
                  <a:latin typeface="Arial" charset="0"/>
                </a:defRPr>
              </a:lvl7pPr>
              <a:lvl8pPr marL="1828891" algn="l" defTabSz="1193860" rtl="0" eaLnBrk="1" fontAlgn="base" hangingPunct="1">
                <a:spcBef>
                  <a:spcPct val="0"/>
                </a:spcBef>
                <a:spcAft>
                  <a:spcPct val="0"/>
                </a:spcAft>
                <a:defRPr sz="2533" b="1">
                  <a:solidFill>
                    <a:schemeClr val="tx2"/>
                  </a:solidFill>
                  <a:latin typeface="Arial" charset="0"/>
                </a:defRPr>
              </a:lvl8pPr>
              <a:lvl9pPr marL="2438522" algn="l" defTabSz="1193860" rtl="0" eaLnBrk="1" fontAlgn="base" hangingPunct="1">
                <a:spcBef>
                  <a:spcPct val="0"/>
                </a:spcBef>
                <a:spcAft>
                  <a:spcPct val="0"/>
                </a:spcAft>
                <a:defRPr sz="2533" b="1">
                  <a:solidFill>
                    <a:schemeClr val="tx2"/>
                  </a:solidFill>
                  <a:latin typeface="Arial" charset="0"/>
                </a:defRPr>
              </a:lvl9pPr>
            </a:lstStyle>
            <a:p>
              <a:pPr>
                <a:buClr>
                  <a:schemeClr val="tx2"/>
                </a:buClr>
              </a:pPr>
              <a:r>
                <a:rPr lang="en-US" sz="1800" dirty="0">
                  <a:solidFill>
                    <a:schemeClr val="tx1"/>
                  </a:solidFill>
                  <a:ea typeface="+mn-ea"/>
                  <a:cs typeface="+mn-cs"/>
                </a:rPr>
                <a:t/>
              </a:r>
              <a:br>
                <a:rPr lang="en-US" sz="1800" dirty="0">
                  <a:solidFill>
                    <a:schemeClr val="tx1"/>
                  </a:solidFill>
                  <a:ea typeface="+mn-ea"/>
                  <a:cs typeface="+mn-cs"/>
                </a:rPr>
              </a:br>
              <a:r>
                <a:rPr lang="en-US" sz="1800" dirty="0">
                  <a:solidFill>
                    <a:schemeClr val="tx1"/>
                  </a:solidFill>
                  <a:ea typeface="+mn-ea"/>
                  <a:cs typeface="+mn-cs"/>
                </a:rPr>
                <a:t>Sales Ninja built capability across 7+ business units covering 3500+ field force members (pilot phase)</a:t>
              </a:r>
            </a:p>
          </p:txBody>
        </p:sp>
        <p:sp>
          <p:nvSpPr>
            <p:cNvPr id="41" name="Freeform 21"/>
            <p:cNvSpPr>
              <a:spLocks noEditPoints="1"/>
            </p:cNvSpPr>
            <p:nvPr/>
          </p:nvSpPr>
          <p:spPr bwMode="gray">
            <a:xfrm rot="16200000">
              <a:off x="7450849" y="4286822"/>
              <a:ext cx="480116" cy="421035"/>
            </a:xfrm>
            <a:custGeom>
              <a:avLst/>
              <a:gdLst>
                <a:gd name="T0" fmla="*/ 1216 w 2808"/>
                <a:gd name="T1" fmla="*/ 2262 h 2467"/>
                <a:gd name="T2" fmla="*/ 1558 w 2808"/>
                <a:gd name="T3" fmla="*/ 2252 h 2467"/>
                <a:gd name="T4" fmla="*/ 865 w 2808"/>
                <a:gd name="T5" fmla="*/ 1975 h 2467"/>
                <a:gd name="T6" fmla="*/ 1153 w 2808"/>
                <a:gd name="T7" fmla="*/ 1857 h 2467"/>
                <a:gd name="T8" fmla="*/ 981 w 2808"/>
                <a:gd name="T9" fmla="*/ 2018 h 2467"/>
                <a:gd name="T10" fmla="*/ 1292 w 2808"/>
                <a:gd name="T11" fmla="*/ 1994 h 2467"/>
                <a:gd name="T12" fmla="*/ 1386 w 2808"/>
                <a:gd name="T13" fmla="*/ 1678 h 2467"/>
                <a:gd name="T14" fmla="*/ 1515 w 2808"/>
                <a:gd name="T15" fmla="*/ 1966 h 2467"/>
                <a:gd name="T16" fmla="*/ 1292 w 2808"/>
                <a:gd name="T17" fmla="*/ 1994 h 2467"/>
                <a:gd name="T18" fmla="*/ 425 w 2808"/>
                <a:gd name="T19" fmla="*/ 1532 h 2467"/>
                <a:gd name="T20" fmla="*/ 739 w 2808"/>
                <a:gd name="T21" fmla="*/ 1386 h 2467"/>
                <a:gd name="T22" fmla="*/ 491 w 2808"/>
                <a:gd name="T23" fmla="*/ 1593 h 2467"/>
                <a:gd name="T24" fmla="*/ 811 w 2808"/>
                <a:gd name="T25" fmla="*/ 1426 h 2467"/>
                <a:gd name="T26" fmla="*/ 1053 w 2808"/>
                <a:gd name="T27" fmla="*/ 1599 h 2467"/>
                <a:gd name="T28" fmla="*/ 1304 w 2808"/>
                <a:gd name="T29" fmla="*/ 1592 h 2467"/>
                <a:gd name="T30" fmla="*/ 1387 w 2808"/>
                <a:gd name="T31" fmla="*/ 1272 h 2467"/>
                <a:gd name="T32" fmla="*/ 1304 w 2808"/>
                <a:gd name="T33" fmla="*/ 1592 h 2467"/>
                <a:gd name="T34" fmla="*/ 1620 w 2808"/>
                <a:gd name="T35" fmla="*/ 1434 h 2467"/>
                <a:gd name="T36" fmla="*/ 1793 w 2808"/>
                <a:gd name="T37" fmla="*/ 1272 h 2467"/>
                <a:gd name="T38" fmla="*/ 1967 w 2808"/>
                <a:gd name="T39" fmla="*/ 1434 h 2467"/>
                <a:gd name="T40" fmla="*/ 1717 w 2808"/>
                <a:gd name="T41" fmla="*/ 1599 h 2467"/>
                <a:gd name="T42" fmla="*/ 2020 w 2808"/>
                <a:gd name="T43" fmla="*/ 1448 h 2467"/>
                <a:gd name="T44" fmla="*/ 2338 w 2808"/>
                <a:gd name="T45" fmla="*/ 1545 h 2467"/>
                <a:gd name="T46" fmla="*/ 2530 w 2808"/>
                <a:gd name="T47" fmla="*/ 1599 h 2467"/>
                <a:gd name="T48" fmla="*/ 2750 w 2808"/>
                <a:gd name="T49" fmla="*/ 1351 h 2467"/>
                <a:gd name="T50" fmla="*/ 2530 w 2808"/>
                <a:gd name="T51" fmla="*/ 1599 h 2467"/>
                <a:gd name="T52" fmla="*/ 0 w 2808"/>
                <a:gd name="T53" fmla="*/ 1238 h 2467"/>
                <a:gd name="T54" fmla="*/ 340 w 2808"/>
                <a:gd name="T55" fmla="*/ 1238 h 2467"/>
                <a:gd name="T56" fmla="*/ 478 w 2808"/>
                <a:gd name="T57" fmla="*/ 1180 h 2467"/>
                <a:gd name="T58" fmla="*/ 491 w 2808"/>
                <a:gd name="T59" fmla="*/ 884 h 2467"/>
                <a:gd name="T60" fmla="*/ 702 w 2808"/>
                <a:gd name="T61" fmla="*/ 1154 h 2467"/>
                <a:gd name="T62" fmla="*/ 865 w 2808"/>
                <a:gd name="T63" fmla="*/ 1161 h 2467"/>
                <a:gd name="T64" fmla="*/ 904 w 2808"/>
                <a:gd name="T65" fmla="*/ 881 h 2467"/>
                <a:gd name="T66" fmla="*/ 1073 w 2808"/>
                <a:gd name="T67" fmla="*/ 1183 h 2467"/>
                <a:gd name="T68" fmla="*/ 865 w 2808"/>
                <a:gd name="T69" fmla="*/ 1161 h 2467"/>
                <a:gd name="T70" fmla="*/ 1217 w 2808"/>
                <a:gd name="T71" fmla="*/ 1038 h 2467"/>
                <a:gd name="T72" fmla="*/ 1475 w 2808"/>
                <a:gd name="T73" fmla="*/ 889 h 2467"/>
                <a:gd name="T74" fmla="*/ 1299 w 2808"/>
                <a:gd name="T75" fmla="*/ 1185 h 2467"/>
                <a:gd name="T76" fmla="*/ 1720 w 2808"/>
                <a:gd name="T77" fmla="*/ 878 h 2467"/>
                <a:gd name="T78" fmla="*/ 1886 w 2808"/>
                <a:gd name="T79" fmla="*/ 1183 h 2467"/>
                <a:gd name="T80" fmla="*/ 2103 w 2808"/>
                <a:gd name="T81" fmla="*/ 1178 h 2467"/>
                <a:gd name="T82" fmla="*/ 2338 w 2808"/>
                <a:gd name="T83" fmla="*/ 932 h 2467"/>
                <a:gd name="T84" fmla="*/ 2491 w 2808"/>
                <a:gd name="T85" fmla="*/ 1161 h 2467"/>
                <a:gd name="T86" fmla="*/ 2774 w 2808"/>
                <a:gd name="T87" fmla="*/ 1080 h 2467"/>
                <a:gd name="T88" fmla="*/ 2608 w 2808"/>
                <a:gd name="T89" fmla="*/ 1205 h 2467"/>
                <a:gd name="T90" fmla="*/ 891 w 2808"/>
                <a:gd name="T91" fmla="*/ 779 h 2467"/>
                <a:gd name="T92" fmla="*/ 981 w 2808"/>
                <a:gd name="T93" fmla="*/ 458 h 2467"/>
                <a:gd name="T94" fmla="*/ 1153 w 2808"/>
                <a:gd name="T95" fmla="*/ 620 h 2467"/>
                <a:gd name="T96" fmla="*/ 1327 w 2808"/>
                <a:gd name="T97" fmla="*/ 796 h 2467"/>
                <a:gd name="T98" fmla="*/ 1232 w 2808"/>
                <a:gd name="T99" fmla="*/ 559 h 2467"/>
                <a:gd name="T100" fmla="*/ 1487 w 2808"/>
                <a:gd name="T101" fmla="*/ 769 h 2467"/>
                <a:gd name="T102" fmla="*/ 1331 w 2808"/>
                <a:gd name="T103" fmla="*/ 384 h 2467"/>
                <a:gd name="T104" fmla="*/ 1496 w 2808"/>
                <a:gd name="T105" fmla="*/ 356 h 24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808" h="2467">
                  <a:moveTo>
                    <a:pt x="1314" y="2409"/>
                  </a:moveTo>
                  <a:cubicBezTo>
                    <a:pt x="1251" y="2376"/>
                    <a:pt x="1216" y="2324"/>
                    <a:pt x="1216" y="2262"/>
                  </a:cubicBezTo>
                  <a:cubicBezTo>
                    <a:pt x="1216" y="2123"/>
                    <a:pt x="1349" y="2041"/>
                    <a:pt x="1471" y="2104"/>
                  </a:cubicBezTo>
                  <a:cubicBezTo>
                    <a:pt x="1529" y="2134"/>
                    <a:pt x="1558" y="2183"/>
                    <a:pt x="1558" y="2252"/>
                  </a:cubicBezTo>
                  <a:cubicBezTo>
                    <a:pt x="1558" y="2382"/>
                    <a:pt x="1426" y="2467"/>
                    <a:pt x="1314" y="2409"/>
                  </a:cubicBezTo>
                  <a:close/>
                  <a:moveTo>
                    <a:pt x="865" y="1975"/>
                  </a:moveTo>
                  <a:cubicBezTo>
                    <a:pt x="779" y="1895"/>
                    <a:pt x="791" y="1759"/>
                    <a:pt x="891" y="1698"/>
                  </a:cubicBezTo>
                  <a:cubicBezTo>
                    <a:pt x="1009" y="1626"/>
                    <a:pt x="1153" y="1713"/>
                    <a:pt x="1153" y="1857"/>
                  </a:cubicBezTo>
                  <a:cubicBezTo>
                    <a:pt x="1153" y="1907"/>
                    <a:pt x="1146" y="1922"/>
                    <a:pt x="1102" y="1967"/>
                  </a:cubicBezTo>
                  <a:cubicBezTo>
                    <a:pt x="1055" y="2013"/>
                    <a:pt x="1043" y="2018"/>
                    <a:pt x="981" y="2018"/>
                  </a:cubicBezTo>
                  <a:cubicBezTo>
                    <a:pt x="923" y="2018"/>
                    <a:pt x="906" y="2012"/>
                    <a:pt x="865" y="1975"/>
                  </a:cubicBezTo>
                  <a:close/>
                  <a:moveTo>
                    <a:pt x="1292" y="1994"/>
                  </a:moveTo>
                  <a:cubicBezTo>
                    <a:pt x="1199" y="1935"/>
                    <a:pt x="1190" y="1798"/>
                    <a:pt x="1274" y="1718"/>
                  </a:cubicBezTo>
                  <a:cubicBezTo>
                    <a:pt x="1309" y="1684"/>
                    <a:pt x="1326" y="1678"/>
                    <a:pt x="1386" y="1678"/>
                  </a:cubicBezTo>
                  <a:cubicBezTo>
                    <a:pt x="1444" y="1678"/>
                    <a:pt x="1465" y="1685"/>
                    <a:pt x="1494" y="1712"/>
                  </a:cubicBezTo>
                  <a:cubicBezTo>
                    <a:pt x="1574" y="1786"/>
                    <a:pt x="1582" y="1885"/>
                    <a:pt x="1515" y="1966"/>
                  </a:cubicBezTo>
                  <a:cubicBezTo>
                    <a:pt x="1484" y="2003"/>
                    <a:pt x="1468" y="2010"/>
                    <a:pt x="1406" y="2015"/>
                  </a:cubicBezTo>
                  <a:cubicBezTo>
                    <a:pt x="1350" y="2019"/>
                    <a:pt x="1324" y="2014"/>
                    <a:pt x="1292" y="1994"/>
                  </a:cubicBezTo>
                  <a:close/>
                  <a:moveTo>
                    <a:pt x="491" y="1593"/>
                  </a:moveTo>
                  <a:cubicBezTo>
                    <a:pt x="467" y="1578"/>
                    <a:pt x="438" y="1551"/>
                    <a:pt x="425" y="1532"/>
                  </a:cubicBezTo>
                  <a:cubicBezTo>
                    <a:pt x="396" y="1487"/>
                    <a:pt x="397" y="1392"/>
                    <a:pt x="427" y="1346"/>
                  </a:cubicBezTo>
                  <a:cubicBezTo>
                    <a:pt x="503" y="1230"/>
                    <a:pt x="693" y="1255"/>
                    <a:pt x="739" y="1386"/>
                  </a:cubicBezTo>
                  <a:cubicBezTo>
                    <a:pt x="762" y="1454"/>
                    <a:pt x="751" y="1500"/>
                    <a:pt x="696" y="1560"/>
                  </a:cubicBezTo>
                  <a:cubicBezTo>
                    <a:pt x="640" y="1621"/>
                    <a:pt x="557" y="1634"/>
                    <a:pt x="491" y="1593"/>
                  </a:cubicBezTo>
                  <a:close/>
                  <a:moveTo>
                    <a:pt x="902" y="1596"/>
                  </a:moveTo>
                  <a:cubicBezTo>
                    <a:pt x="834" y="1562"/>
                    <a:pt x="804" y="1506"/>
                    <a:pt x="811" y="1426"/>
                  </a:cubicBezTo>
                  <a:cubicBezTo>
                    <a:pt x="830" y="1210"/>
                    <a:pt x="1153" y="1224"/>
                    <a:pt x="1153" y="1440"/>
                  </a:cubicBezTo>
                  <a:cubicBezTo>
                    <a:pt x="1153" y="1508"/>
                    <a:pt x="1111" y="1575"/>
                    <a:pt x="1053" y="1599"/>
                  </a:cubicBezTo>
                  <a:cubicBezTo>
                    <a:pt x="994" y="1624"/>
                    <a:pt x="957" y="1623"/>
                    <a:pt x="902" y="1596"/>
                  </a:cubicBezTo>
                  <a:close/>
                  <a:moveTo>
                    <a:pt x="1304" y="1592"/>
                  </a:moveTo>
                  <a:cubicBezTo>
                    <a:pt x="1244" y="1555"/>
                    <a:pt x="1216" y="1506"/>
                    <a:pt x="1217" y="1439"/>
                  </a:cubicBezTo>
                  <a:cubicBezTo>
                    <a:pt x="1218" y="1339"/>
                    <a:pt x="1287" y="1272"/>
                    <a:pt x="1387" y="1272"/>
                  </a:cubicBezTo>
                  <a:cubicBezTo>
                    <a:pt x="1565" y="1272"/>
                    <a:pt x="1625" y="1488"/>
                    <a:pt x="1475" y="1588"/>
                  </a:cubicBezTo>
                  <a:cubicBezTo>
                    <a:pt x="1419" y="1625"/>
                    <a:pt x="1360" y="1627"/>
                    <a:pt x="1304" y="1592"/>
                  </a:cubicBezTo>
                  <a:close/>
                  <a:moveTo>
                    <a:pt x="1717" y="1599"/>
                  </a:moveTo>
                  <a:cubicBezTo>
                    <a:pt x="1660" y="1574"/>
                    <a:pt x="1620" y="1506"/>
                    <a:pt x="1620" y="1434"/>
                  </a:cubicBezTo>
                  <a:cubicBezTo>
                    <a:pt x="1620" y="1384"/>
                    <a:pt x="1627" y="1368"/>
                    <a:pt x="1672" y="1324"/>
                  </a:cubicBezTo>
                  <a:cubicBezTo>
                    <a:pt x="1719" y="1277"/>
                    <a:pt x="1730" y="1272"/>
                    <a:pt x="1793" y="1272"/>
                  </a:cubicBezTo>
                  <a:cubicBezTo>
                    <a:pt x="1857" y="1272"/>
                    <a:pt x="1868" y="1277"/>
                    <a:pt x="1915" y="1324"/>
                  </a:cubicBezTo>
                  <a:cubicBezTo>
                    <a:pt x="1959" y="1368"/>
                    <a:pt x="1967" y="1384"/>
                    <a:pt x="1967" y="1434"/>
                  </a:cubicBezTo>
                  <a:cubicBezTo>
                    <a:pt x="1967" y="1508"/>
                    <a:pt x="1927" y="1574"/>
                    <a:pt x="1867" y="1599"/>
                  </a:cubicBezTo>
                  <a:cubicBezTo>
                    <a:pt x="1810" y="1623"/>
                    <a:pt x="1773" y="1623"/>
                    <a:pt x="1717" y="1599"/>
                  </a:cubicBezTo>
                  <a:close/>
                  <a:moveTo>
                    <a:pt x="2117" y="1592"/>
                  </a:moveTo>
                  <a:cubicBezTo>
                    <a:pt x="2066" y="1561"/>
                    <a:pt x="2020" y="1492"/>
                    <a:pt x="2020" y="1448"/>
                  </a:cubicBezTo>
                  <a:cubicBezTo>
                    <a:pt x="2020" y="1352"/>
                    <a:pt x="2103" y="1272"/>
                    <a:pt x="2201" y="1272"/>
                  </a:cubicBezTo>
                  <a:cubicBezTo>
                    <a:pt x="2345" y="1272"/>
                    <a:pt x="2426" y="1433"/>
                    <a:pt x="2338" y="1545"/>
                  </a:cubicBezTo>
                  <a:cubicBezTo>
                    <a:pt x="2280" y="1619"/>
                    <a:pt x="2191" y="1637"/>
                    <a:pt x="2117" y="1592"/>
                  </a:cubicBezTo>
                  <a:close/>
                  <a:moveTo>
                    <a:pt x="2530" y="1599"/>
                  </a:moveTo>
                  <a:cubicBezTo>
                    <a:pt x="2465" y="1570"/>
                    <a:pt x="2431" y="1506"/>
                    <a:pt x="2438" y="1426"/>
                  </a:cubicBezTo>
                  <a:cubicBezTo>
                    <a:pt x="2452" y="1261"/>
                    <a:pt x="2656" y="1212"/>
                    <a:pt x="2750" y="1351"/>
                  </a:cubicBezTo>
                  <a:cubicBezTo>
                    <a:pt x="2785" y="1402"/>
                    <a:pt x="2788" y="1453"/>
                    <a:pt x="2761" y="1518"/>
                  </a:cubicBezTo>
                  <a:cubicBezTo>
                    <a:pt x="2727" y="1600"/>
                    <a:pt x="2618" y="1639"/>
                    <a:pt x="2530" y="1599"/>
                  </a:cubicBezTo>
                  <a:close/>
                  <a:moveTo>
                    <a:pt x="107" y="1400"/>
                  </a:moveTo>
                  <a:cubicBezTo>
                    <a:pt x="32" y="1366"/>
                    <a:pt x="0" y="1318"/>
                    <a:pt x="0" y="1238"/>
                  </a:cubicBezTo>
                  <a:cubicBezTo>
                    <a:pt x="0" y="1177"/>
                    <a:pt x="6" y="1161"/>
                    <a:pt x="39" y="1126"/>
                  </a:cubicBezTo>
                  <a:cubicBezTo>
                    <a:pt x="152" y="1008"/>
                    <a:pt x="340" y="1078"/>
                    <a:pt x="340" y="1238"/>
                  </a:cubicBezTo>
                  <a:cubicBezTo>
                    <a:pt x="340" y="1362"/>
                    <a:pt x="215" y="1449"/>
                    <a:pt x="107" y="1400"/>
                  </a:cubicBezTo>
                  <a:close/>
                  <a:moveTo>
                    <a:pt x="478" y="1180"/>
                  </a:moveTo>
                  <a:cubicBezTo>
                    <a:pt x="423" y="1146"/>
                    <a:pt x="402" y="1106"/>
                    <a:pt x="402" y="1036"/>
                  </a:cubicBezTo>
                  <a:cubicBezTo>
                    <a:pt x="402" y="971"/>
                    <a:pt x="432" y="921"/>
                    <a:pt x="491" y="884"/>
                  </a:cubicBezTo>
                  <a:cubicBezTo>
                    <a:pt x="547" y="850"/>
                    <a:pt x="606" y="852"/>
                    <a:pt x="661" y="889"/>
                  </a:cubicBezTo>
                  <a:cubicBezTo>
                    <a:pt x="761" y="956"/>
                    <a:pt x="778" y="1069"/>
                    <a:pt x="702" y="1154"/>
                  </a:cubicBezTo>
                  <a:cubicBezTo>
                    <a:pt x="653" y="1209"/>
                    <a:pt x="544" y="1222"/>
                    <a:pt x="478" y="1180"/>
                  </a:cubicBezTo>
                  <a:close/>
                  <a:moveTo>
                    <a:pt x="865" y="1161"/>
                  </a:moveTo>
                  <a:cubicBezTo>
                    <a:pt x="825" y="1124"/>
                    <a:pt x="816" y="1106"/>
                    <a:pt x="811" y="1051"/>
                  </a:cubicBezTo>
                  <a:cubicBezTo>
                    <a:pt x="804" y="970"/>
                    <a:pt x="835" y="913"/>
                    <a:pt x="904" y="881"/>
                  </a:cubicBezTo>
                  <a:cubicBezTo>
                    <a:pt x="961" y="853"/>
                    <a:pt x="994" y="853"/>
                    <a:pt x="1053" y="878"/>
                  </a:cubicBezTo>
                  <a:cubicBezTo>
                    <a:pt x="1176" y="929"/>
                    <a:pt x="1187" y="1116"/>
                    <a:pt x="1073" y="1183"/>
                  </a:cubicBezTo>
                  <a:cubicBezTo>
                    <a:pt x="1052" y="1195"/>
                    <a:pt x="1008" y="1205"/>
                    <a:pt x="974" y="1205"/>
                  </a:cubicBezTo>
                  <a:cubicBezTo>
                    <a:pt x="923" y="1205"/>
                    <a:pt x="905" y="1198"/>
                    <a:pt x="865" y="1161"/>
                  </a:cubicBezTo>
                  <a:close/>
                  <a:moveTo>
                    <a:pt x="1299" y="1185"/>
                  </a:moveTo>
                  <a:cubicBezTo>
                    <a:pt x="1248" y="1157"/>
                    <a:pt x="1218" y="1103"/>
                    <a:pt x="1217" y="1038"/>
                  </a:cubicBezTo>
                  <a:cubicBezTo>
                    <a:pt x="1216" y="970"/>
                    <a:pt x="1244" y="921"/>
                    <a:pt x="1304" y="884"/>
                  </a:cubicBezTo>
                  <a:cubicBezTo>
                    <a:pt x="1360" y="850"/>
                    <a:pt x="1419" y="852"/>
                    <a:pt x="1475" y="889"/>
                  </a:cubicBezTo>
                  <a:cubicBezTo>
                    <a:pt x="1626" y="990"/>
                    <a:pt x="1564" y="1206"/>
                    <a:pt x="1384" y="1205"/>
                  </a:cubicBezTo>
                  <a:cubicBezTo>
                    <a:pt x="1356" y="1204"/>
                    <a:pt x="1318" y="1196"/>
                    <a:pt x="1299" y="1185"/>
                  </a:cubicBezTo>
                  <a:close/>
                  <a:moveTo>
                    <a:pt x="1698" y="1183"/>
                  </a:moveTo>
                  <a:cubicBezTo>
                    <a:pt x="1586" y="1113"/>
                    <a:pt x="1599" y="928"/>
                    <a:pt x="1720" y="878"/>
                  </a:cubicBezTo>
                  <a:cubicBezTo>
                    <a:pt x="1779" y="853"/>
                    <a:pt x="1812" y="853"/>
                    <a:pt x="1870" y="881"/>
                  </a:cubicBezTo>
                  <a:cubicBezTo>
                    <a:pt x="1991" y="938"/>
                    <a:pt x="2000" y="1116"/>
                    <a:pt x="1886" y="1183"/>
                  </a:cubicBezTo>
                  <a:cubicBezTo>
                    <a:pt x="1839" y="1211"/>
                    <a:pt x="1744" y="1211"/>
                    <a:pt x="1698" y="1183"/>
                  </a:cubicBezTo>
                  <a:close/>
                  <a:moveTo>
                    <a:pt x="2103" y="1178"/>
                  </a:moveTo>
                  <a:cubicBezTo>
                    <a:pt x="2019" y="1127"/>
                    <a:pt x="2000" y="1011"/>
                    <a:pt x="2062" y="933"/>
                  </a:cubicBezTo>
                  <a:cubicBezTo>
                    <a:pt x="2137" y="837"/>
                    <a:pt x="2263" y="836"/>
                    <a:pt x="2338" y="932"/>
                  </a:cubicBezTo>
                  <a:cubicBezTo>
                    <a:pt x="2457" y="1083"/>
                    <a:pt x="2269" y="1279"/>
                    <a:pt x="2103" y="1178"/>
                  </a:cubicBezTo>
                  <a:close/>
                  <a:moveTo>
                    <a:pt x="2491" y="1161"/>
                  </a:moveTo>
                  <a:cubicBezTo>
                    <a:pt x="2396" y="1074"/>
                    <a:pt x="2424" y="919"/>
                    <a:pt x="2543" y="874"/>
                  </a:cubicBezTo>
                  <a:cubicBezTo>
                    <a:pt x="2675" y="824"/>
                    <a:pt x="2808" y="944"/>
                    <a:pt x="2774" y="1080"/>
                  </a:cubicBezTo>
                  <a:cubicBezTo>
                    <a:pt x="2769" y="1100"/>
                    <a:pt x="2745" y="1136"/>
                    <a:pt x="2721" y="1161"/>
                  </a:cubicBezTo>
                  <a:cubicBezTo>
                    <a:pt x="2682" y="1199"/>
                    <a:pt x="2667" y="1205"/>
                    <a:pt x="2608" y="1205"/>
                  </a:cubicBezTo>
                  <a:cubicBezTo>
                    <a:pt x="2549" y="1205"/>
                    <a:pt x="2533" y="1199"/>
                    <a:pt x="2491" y="1161"/>
                  </a:cubicBezTo>
                  <a:close/>
                  <a:moveTo>
                    <a:pt x="891" y="779"/>
                  </a:moveTo>
                  <a:cubicBezTo>
                    <a:pt x="791" y="718"/>
                    <a:pt x="779" y="582"/>
                    <a:pt x="865" y="502"/>
                  </a:cubicBezTo>
                  <a:cubicBezTo>
                    <a:pt x="906" y="465"/>
                    <a:pt x="923" y="458"/>
                    <a:pt x="981" y="458"/>
                  </a:cubicBezTo>
                  <a:cubicBezTo>
                    <a:pt x="1043" y="458"/>
                    <a:pt x="1055" y="463"/>
                    <a:pt x="1102" y="510"/>
                  </a:cubicBezTo>
                  <a:cubicBezTo>
                    <a:pt x="1146" y="555"/>
                    <a:pt x="1153" y="570"/>
                    <a:pt x="1153" y="620"/>
                  </a:cubicBezTo>
                  <a:cubicBezTo>
                    <a:pt x="1153" y="764"/>
                    <a:pt x="1009" y="851"/>
                    <a:pt x="891" y="779"/>
                  </a:cubicBezTo>
                  <a:close/>
                  <a:moveTo>
                    <a:pt x="1327" y="796"/>
                  </a:moveTo>
                  <a:cubicBezTo>
                    <a:pt x="1286" y="781"/>
                    <a:pt x="1232" y="718"/>
                    <a:pt x="1219" y="669"/>
                  </a:cubicBezTo>
                  <a:cubicBezTo>
                    <a:pt x="1208" y="627"/>
                    <a:pt x="1210" y="608"/>
                    <a:pt x="1232" y="559"/>
                  </a:cubicBezTo>
                  <a:cubicBezTo>
                    <a:pt x="1261" y="492"/>
                    <a:pt x="1313" y="458"/>
                    <a:pt x="1387" y="458"/>
                  </a:cubicBezTo>
                  <a:cubicBezTo>
                    <a:pt x="1558" y="458"/>
                    <a:pt x="1622" y="656"/>
                    <a:pt x="1487" y="769"/>
                  </a:cubicBezTo>
                  <a:cubicBezTo>
                    <a:pt x="1446" y="804"/>
                    <a:pt x="1380" y="815"/>
                    <a:pt x="1327" y="796"/>
                  </a:cubicBezTo>
                  <a:close/>
                  <a:moveTo>
                    <a:pt x="1331" y="384"/>
                  </a:moveTo>
                  <a:cubicBezTo>
                    <a:pt x="1174" y="330"/>
                    <a:pt x="1177" y="110"/>
                    <a:pt x="1335" y="58"/>
                  </a:cubicBezTo>
                  <a:cubicBezTo>
                    <a:pt x="1511" y="0"/>
                    <a:pt x="1644" y="246"/>
                    <a:pt x="1496" y="356"/>
                  </a:cubicBezTo>
                  <a:cubicBezTo>
                    <a:pt x="1441" y="398"/>
                    <a:pt x="1394" y="405"/>
                    <a:pt x="1331" y="384"/>
                  </a:cubicBez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51430" tIns="25715" rIns="51430" bIns="25715" numCol="1" anchor="t" anchorCtr="0" compatLnSpc="1">
              <a:prstTxWarp prst="textNoShape">
                <a:avLst/>
              </a:prstTxWarp>
            </a:bodyPr>
            <a:lstStyle/>
            <a:p>
              <a:endParaRPr lang="en-US" sz="900"/>
            </a:p>
          </p:txBody>
        </p:sp>
        <p:sp>
          <p:nvSpPr>
            <p:cNvPr id="46" name="Freeform 21"/>
            <p:cNvSpPr>
              <a:spLocks noEditPoints="1"/>
            </p:cNvSpPr>
            <p:nvPr/>
          </p:nvSpPr>
          <p:spPr bwMode="gray">
            <a:xfrm rot="16200000">
              <a:off x="8067230" y="4286822"/>
              <a:ext cx="480116" cy="421035"/>
            </a:xfrm>
            <a:custGeom>
              <a:avLst/>
              <a:gdLst>
                <a:gd name="T0" fmla="*/ 1216 w 2808"/>
                <a:gd name="T1" fmla="*/ 2262 h 2467"/>
                <a:gd name="T2" fmla="*/ 1558 w 2808"/>
                <a:gd name="T3" fmla="*/ 2252 h 2467"/>
                <a:gd name="T4" fmla="*/ 865 w 2808"/>
                <a:gd name="T5" fmla="*/ 1975 h 2467"/>
                <a:gd name="T6" fmla="*/ 1153 w 2808"/>
                <a:gd name="T7" fmla="*/ 1857 h 2467"/>
                <a:gd name="T8" fmla="*/ 981 w 2808"/>
                <a:gd name="T9" fmla="*/ 2018 h 2467"/>
                <a:gd name="T10" fmla="*/ 1292 w 2808"/>
                <a:gd name="T11" fmla="*/ 1994 h 2467"/>
                <a:gd name="T12" fmla="*/ 1386 w 2808"/>
                <a:gd name="T13" fmla="*/ 1678 h 2467"/>
                <a:gd name="T14" fmla="*/ 1515 w 2808"/>
                <a:gd name="T15" fmla="*/ 1966 h 2467"/>
                <a:gd name="T16" fmla="*/ 1292 w 2808"/>
                <a:gd name="T17" fmla="*/ 1994 h 2467"/>
                <a:gd name="T18" fmla="*/ 425 w 2808"/>
                <a:gd name="T19" fmla="*/ 1532 h 2467"/>
                <a:gd name="T20" fmla="*/ 739 w 2808"/>
                <a:gd name="T21" fmla="*/ 1386 h 2467"/>
                <a:gd name="T22" fmla="*/ 491 w 2808"/>
                <a:gd name="T23" fmla="*/ 1593 h 2467"/>
                <a:gd name="T24" fmla="*/ 811 w 2808"/>
                <a:gd name="T25" fmla="*/ 1426 h 2467"/>
                <a:gd name="T26" fmla="*/ 1053 w 2808"/>
                <a:gd name="T27" fmla="*/ 1599 h 2467"/>
                <a:gd name="T28" fmla="*/ 1304 w 2808"/>
                <a:gd name="T29" fmla="*/ 1592 h 2467"/>
                <a:gd name="T30" fmla="*/ 1387 w 2808"/>
                <a:gd name="T31" fmla="*/ 1272 h 2467"/>
                <a:gd name="T32" fmla="*/ 1304 w 2808"/>
                <a:gd name="T33" fmla="*/ 1592 h 2467"/>
                <a:gd name="T34" fmla="*/ 1620 w 2808"/>
                <a:gd name="T35" fmla="*/ 1434 h 2467"/>
                <a:gd name="T36" fmla="*/ 1793 w 2808"/>
                <a:gd name="T37" fmla="*/ 1272 h 2467"/>
                <a:gd name="T38" fmla="*/ 1967 w 2808"/>
                <a:gd name="T39" fmla="*/ 1434 h 2467"/>
                <a:gd name="T40" fmla="*/ 1717 w 2808"/>
                <a:gd name="T41" fmla="*/ 1599 h 2467"/>
                <a:gd name="T42" fmla="*/ 2020 w 2808"/>
                <a:gd name="T43" fmla="*/ 1448 h 2467"/>
                <a:gd name="T44" fmla="*/ 2338 w 2808"/>
                <a:gd name="T45" fmla="*/ 1545 h 2467"/>
                <a:gd name="T46" fmla="*/ 2530 w 2808"/>
                <a:gd name="T47" fmla="*/ 1599 h 2467"/>
                <a:gd name="T48" fmla="*/ 2750 w 2808"/>
                <a:gd name="T49" fmla="*/ 1351 h 2467"/>
                <a:gd name="T50" fmla="*/ 2530 w 2808"/>
                <a:gd name="T51" fmla="*/ 1599 h 2467"/>
                <a:gd name="T52" fmla="*/ 0 w 2808"/>
                <a:gd name="T53" fmla="*/ 1238 h 2467"/>
                <a:gd name="T54" fmla="*/ 340 w 2808"/>
                <a:gd name="T55" fmla="*/ 1238 h 2467"/>
                <a:gd name="T56" fmla="*/ 478 w 2808"/>
                <a:gd name="T57" fmla="*/ 1180 h 2467"/>
                <a:gd name="T58" fmla="*/ 491 w 2808"/>
                <a:gd name="T59" fmla="*/ 884 h 2467"/>
                <a:gd name="T60" fmla="*/ 702 w 2808"/>
                <a:gd name="T61" fmla="*/ 1154 h 2467"/>
                <a:gd name="T62" fmla="*/ 865 w 2808"/>
                <a:gd name="T63" fmla="*/ 1161 h 2467"/>
                <a:gd name="T64" fmla="*/ 904 w 2808"/>
                <a:gd name="T65" fmla="*/ 881 h 2467"/>
                <a:gd name="T66" fmla="*/ 1073 w 2808"/>
                <a:gd name="T67" fmla="*/ 1183 h 2467"/>
                <a:gd name="T68" fmla="*/ 865 w 2808"/>
                <a:gd name="T69" fmla="*/ 1161 h 2467"/>
                <a:gd name="T70" fmla="*/ 1217 w 2808"/>
                <a:gd name="T71" fmla="*/ 1038 h 2467"/>
                <a:gd name="T72" fmla="*/ 1475 w 2808"/>
                <a:gd name="T73" fmla="*/ 889 h 2467"/>
                <a:gd name="T74" fmla="*/ 1299 w 2808"/>
                <a:gd name="T75" fmla="*/ 1185 h 2467"/>
                <a:gd name="T76" fmla="*/ 1720 w 2808"/>
                <a:gd name="T77" fmla="*/ 878 h 2467"/>
                <a:gd name="T78" fmla="*/ 1886 w 2808"/>
                <a:gd name="T79" fmla="*/ 1183 h 2467"/>
                <a:gd name="T80" fmla="*/ 2103 w 2808"/>
                <a:gd name="T81" fmla="*/ 1178 h 2467"/>
                <a:gd name="T82" fmla="*/ 2338 w 2808"/>
                <a:gd name="T83" fmla="*/ 932 h 2467"/>
                <a:gd name="T84" fmla="*/ 2491 w 2808"/>
                <a:gd name="T85" fmla="*/ 1161 h 2467"/>
                <a:gd name="T86" fmla="*/ 2774 w 2808"/>
                <a:gd name="T87" fmla="*/ 1080 h 2467"/>
                <a:gd name="T88" fmla="*/ 2608 w 2808"/>
                <a:gd name="T89" fmla="*/ 1205 h 2467"/>
                <a:gd name="T90" fmla="*/ 891 w 2808"/>
                <a:gd name="T91" fmla="*/ 779 h 2467"/>
                <a:gd name="T92" fmla="*/ 981 w 2808"/>
                <a:gd name="T93" fmla="*/ 458 h 2467"/>
                <a:gd name="T94" fmla="*/ 1153 w 2808"/>
                <a:gd name="T95" fmla="*/ 620 h 2467"/>
                <a:gd name="T96" fmla="*/ 1327 w 2808"/>
                <a:gd name="T97" fmla="*/ 796 h 2467"/>
                <a:gd name="T98" fmla="*/ 1232 w 2808"/>
                <a:gd name="T99" fmla="*/ 559 h 2467"/>
                <a:gd name="T100" fmla="*/ 1487 w 2808"/>
                <a:gd name="T101" fmla="*/ 769 h 2467"/>
                <a:gd name="T102" fmla="*/ 1331 w 2808"/>
                <a:gd name="T103" fmla="*/ 384 h 2467"/>
                <a:gd name="T104" fmla="*/ 1496 w 2808"/>
                <a:gd name="T105" fmla="*/ 356 h 24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808" h="2467">
                  <a:moveTo>
                    <a:pt x="1314" y="2409"/>
                  </a:moveTo>
                  <a:cubicBezTo>
                    <a:pt x="1251" y="2376"/>
                    <a:pt x="1216" y="2324"/>
                    <a:pt x="1216" y="2262"/>
                  </a:cubicBezTo>
                  <a:cubicBezTo>
                    <a:pt x="1216" y="2123"/>
                    <a:pt x="1349" y="2041"/>
                    <a:pt x="1471" y="2104"/>
                  </a:cubicBezTo>
                  <a:cubicBezTo>
                    <a:pt x="1529" y="2134"/>
                    <a:pt x="1558" y="2183"/>
                    <a:pt x="1558" y="2252"/>
                  </a:cubicBezTo>
                  <a:cubicBezTo>
                    <a:pt x="1558" y="2382"/>
                    <a:pt x="1426" y="2467"/>
                    <a:pt x="1314" y="2409"/>
                  </a:cubicBezTo>
                  <a:close/>
                  <a:moveTo>
                    <a:pt x="865" y="1975"/>
                  </a:moveTo>
                  <a:cubicBezTo>
                    <a:pt x="779" y="1895"/>
                    <a:pt x="791" y="1759"/>
                    <a:pt x="891" y="1698"/>
                  </a:cubicBezTo>
                  <a:cubicBezTo>
                    <a:pt x="1009" y="1626"/>
                    <a:pt x="1153" y="1713"/>
                    <a:pt x="1153" y="1857"/>
                  </a:cubicBezTo>
                  <a:cubicBezTo>
                    <a:pt x="1153" y="1907"/>
                    <a:pt x="1146" y="1922"/>
                    <a:pt x="1102" y="1967"/>
                  </a:cubicBezTo>
                  <a:cubicBezTo>
                    <a:pt x="1055" y="2013"/>
                    <a:pt x="1043" y="2018"/>
                    <a:pt x="981" y="2018"/>
                  </a:cubicBezTo>
                  <a:cubicBezTo>
                    <a:pt x="923" y="2018"/>
                    <a:pt x="906" y="2012"/>
                    <a:pt x="865" y="1975"/>
                  </a:cubicBezTo>
                  <a:close/>
                  <a:moveTo>
                    <a:pt x="1292" y="1994"/>
                  </a:moveTo>
                  <a:cubicBezTo>
                    <a:pt x="1199" y="1935"/>
                    <a:pt x="1190" y="1798"/>
                    <a:pt x="1274" y="1718"/>
                  </a:cubicBezTo>
                  <a:cubicBezTo>
                    <a:pt x="1309" y="1684"/>
                    <a:pt x="1326" y="1678"/>
                    <a:pt x="1386" y="1678"/>
                  </a:cubicBezTo>
                  <a:cubicBezTo>
                    <a:pt x="1444" y="1678"/>
                    <a:pt x="1465" y="1685"/>
                    <a:pt x="1494" y="1712"/>
                  </a:cubicBezTo>
                  <a:cubicBezTo>
                    <a:pt x="1574" y="1786"/>
                    <a:pt x="1582" y="1885"/>
                    <a:pt x="1515" y="1966"/>
                  </a:cubicBezTo>
                  <a:cubicBezTo>
                    <a:pt x="1484" y="2003"/>
                    <a:pt x="1468" y="2010"/>
                    <a:pt x="1406" y="2015"/>
                  </a:cubicBezTo>
                  <a:cubicBezTo>
                    <a:pt x="1350" y="2019"/>
                    <a:pt x="1324" y="2014"/>
                    <a:pt x="1292" y="1994"/>
                  </a:cubicBezTo>
                  <a:close/>
                  <a:moveTo>
                    <a:pt x="491" y="1593"/>
                  </a:moveTo>
                  <a:cubicBezTo>
                    <a:pt x="467" y="1578"/>
                    <a:pt x="438" y="1551"/>
                    <a:pt x="425" y="1532"/>
                  </a:cubicBezTo>
                  <a:cubicBezTo>
                    <a:pt x="396" y="1487"/>
                    <a:pt x="397" y="1392"/>
                    <a:pt x="427" y="1346"/>
                  </a:cubicBezTo>
                  <a:cubicBezTo>
                    <a:pt x="503" y="1230"/>
                    <a:pt x="693" y="1255"/>
                    <a:pt x="739" y="1386"/>
                  </a:cubicBezTo>
                  <a:cubicBezTo>
                    <a:pt x="762" y="1454"/>
                    <a:pt x="751" y="1500"/>
                    <a:pt x="696" y="1560"/>
                  </a:cubicBezTo>
                  <a:cubicBezTo>
                    <a:pt x="640" y="1621"/>
                    <a:pt x="557" y="1634"/>
                    <a:pt x="491" y="1593"/>
                  </a:cubicBezTo>
                  <a:close/>
                  <a:moveTo>
                    <a:pt x="902" y="1596"/>
                  </a:moveTo>
                  <a:cubicBezTo>
                    <a:pt x="834" y="1562"/>
                    <a:pt x="804" y="1506"/>
                    <a:pt x="811" y="1426"/>
                  </a:cubicBezTo>
                  <a:cubicBezTo>
                    <a:pt x="830" y="1210"/>
                    <a:pt x="1153" y="1224"/>
                    <a:pt x="1153" y="1440"/>
                  </a:cubicBezTo>
                  <a:cubicBezTo>
                    <a:pt x="1153" y="1508"/>
                    <a:pt x="1111" y="1575"/>
                    <a:pt x="1053" y="1599"/>
                  </a:cubicBezTo>
                  <a:cubicBezTo>
                    <a:pt x="994" y="1624"/>
                    <a:pt x="957" y="1623"/>
                    <a:pt x="902" y="1596"/>
                  </a:cubicBezTo>
                  <a:close/>
                  <a:moveTo>
                    <a:pt x="1304" y="1592"/>
                  </a:moveTo>
                  <a:cubicBezTo>
                    <a:pt x="1244" y="1555"/>
                    <a:pt x="1216" y="1506"/>
                    <a:pt x="1217" y="1439"/>
                  </a:cubicBezTo>
                  <a:cubicBezTo>
                    <a:pt x="1218" y="1339"/>
                    <a:pt x="1287" y="1272"/>
                    <a:pt x="1387" y="1272"/>
                  </a:cubicBezTo>
                  <a:cubicBezTo>
                    <a:pt x="1565" y="1272"/>
                    <a:pt x="1625" y="1488"/>
                    <a:pt x="1475" y="1588"/>
                  </a:cubicBezTo>
                  <a:cubicBezTo>
                    <a:pt x="1419" y="1625"/>
                    <a:pt x="1360" y="1627"/>
                    <a:pt x="1304" y="1592"/>
                  </a:cubicBezTo>
                  <a:close/>
                  <a:moveTo>
                    <a:pt x="1717" y="1599"/>
                  </a:moveTo>
                  <a:cubicBezTo>
                    <a:pt x="1660" y="1574"/>
                    <a:pt x="1620" y="1506"/>
                    <a:pt x="1620" y="1434"/>
                  </a:cubicBezTo>
                  <a:cubicBezTo>
                    <a:pt x="1620" y="1384"/>
                    <a:pt x="1627" y="1368"/>
                    <a:pt x="1672" y="1324"/>
                  </a:cubicBezTo>
                  <a:cubicBezTo>
                    <a:pt x="1719" y="1277"/>
                    <a:pt x="1730" y="1272"/>
                    <a:pt x="1793" y="1272"/>
                  </a:cubicBezTo>
                  <a:cubicBezTo>
                    <a:pt x="1857" y="1272"/>
                    <a:pt x="1868" y="1277"/>
                    <a:pt x="1915" y="1324"/>
                  </a:cubicBezTo>
                  <a:cubicBezTo>
                    <a:pt x="1959" y="1368"/>
                    <a:pt x="1967" y="1384"/>
                    <a:pt x="1967" y="1434"/>
                  </a:cubicBezTo>
                  <a:cubicBezTo>
                    <a:pt x="1967" y="1508"/>
                    <a:pt x="1927" y="1574"/>
                    <a:pt x="1867" y="1599"/>
                  </a:cubicBezTo>
                  <a:cubicBezTo>
                    <a:pt x="1810" y="1623"/>
                    <a:pt x="1773" y="1623"/>
                    <a:pt x="1717" y="1599"/>
                  </a:cubicBezTo>
                  <a:close/>
                  <a:moveTo>
                    <a:pt x="2117" y="1592"/>
                  </a:moveTo>
                  <a:cubicBezTo>
                    <a:pt x="2066" y="1561"/>
                    <a:pt x="2020" y="1492"/>
                    <a:pt x="2020" y="1448"/>
                  </a:cubicBezTo>
                  <a:cubicBezTo>
                    <a:pt x="2020" y="1352"/>
                    <a:pt x="2103" y="1272"/>
                    <a:pt x="2201" y="1272"/>
                  </a:cubicBezTo>
                  <a:cubicBezTo>
                    <a:pt x="2345" y="1272"/>
                    <a:pt x="2426" y="1433"/>
                    <a:pt x="2338" y="1545"/>
                  </a:cubicBezTo>
                  <a:cubicBezTo>
                    <a:pt x="2280" y="1619"/>
                    <a:pt x="2191" y="1637"/>
                    <a:pt x="2117" y="1592"/>
                  </a:cubicBezTo>
                  <a:close/>
                  <a:moveTo>
                    <a:pt x="2530" y="1599"/>
                  </a:moveTo>
                  <a:cubicBezTo>
                    <a:pt x="2465" y="1570"/>
                    <a:pt x="2431" y="1506"/>
                    <a:pt x="2438" y="1426"/>
                  </a:cubicBezTo>
                  <a:cubicBezTo>
                    <a:pt x="2452" y="1261"/>
                    <a:pt x="2656" y="1212"/>
                    <a:pt x="2750" y="1351"/>
                  </a:cubicBezTo>
                  <a:cubicBezTo>
                    <a:pt x="2785" y="1402"/>
                    <a:pt x="2788" y="1453"/>
                    <a:pt x="2761" y="1518"/>
                  </a:cubicBezTo>
                  <a:cubicBezTo>
                    <a:pt x="2727" y="1600"/>
                    <a:pt x="2618" y="1639"/>
                    <a:pt x="2530" y="1599"/>
                  </a:cubicBezTo>
                  <a:close/>
                  <a:moveTo>
                    <a:pt x="107" y="1400"/>
                  </a:moveTo>
                  <a:cubicBezTo>
                    <a:pt x="32" y="1366"/>
                    <a:pt x="0" y="1318"/>
                    <a:pt x="0" y="1238"/>
                  </a:cubicBezTo>
                  <a:cubicBezTo>
                    <a:pt x="0" y="1177"/>
                    <a:pt x="6" y="1161"/>
                    <a:pt x="39" y="1126"/>
                  </a:cubicBezTo>
                  <a:cubicBezTo>
                    <a:pt x="152" y="1008"/>
                    <a:pt x="340" y="1078"/>
                    <a:pt x="340" y="1238"/>
                  </a:cubicBezTo>
                  <a:cubicBezTo>
                    <a:pt x="340" y="1362"/>
                    <a:pt x="215" y="1449"/>
                    <a:pt x="107" y="1400"/>
                  </a:cubicBezTo>
                  <a:close/>
                  <a:moveTo>
                    <a:pt x="478" y="1180"/>
                  </a:moveTo>
                  <a:cubicBezTo>
                    <a:pt x="423" y="1146"/>
                    <a:pt x="402" y="1106"/>
                    <a:pt x="402" y="1036"/>
                  </a:cubicBezTo>
                  <a:cubicBezTo>
                    <a:pt x="402" y="971"/>
                    <a:pt x="432" y="921"/>
                    <a:pt x="491" y="884"/>
                  </a:cubicBezTo>
                  <a:cubicBezTo>
                    <a:pt x="547" y="850"/>
                    <a:pt x="606" y="852"/>
                    <a:pt x="661" y="889"/>
                  </a:cubicBezTo>
                  <a:cubicBezTo>
                    <a:pt x="761" y="956"/>
                    <a:pt x="778" y="1069"/>
                    <a:pt x="702" y="1154"/>
                  </a:cubicBezTo>
                  <a:cubicBezTo>
                    <a:pt x="653" y="1209"/>
                    <a:pt x="544" y="1222"/>
                    <a:pt x="478" y="1180"/>
                  </a:cubicBezTo>
                  <a:close/>
                  <a:moveTo>
                    <a:pt x="865" y="1161"/>
                  </a:moveTo>
                  <a:cubicBezTo>
                    <a:pt x="825" y="1124"/>
                    <a:pt x="816" y="1106"/>
                    <a:pt x="811" y="1051"/>
                  </a:cubicBezTo>
                  <a:cubicBezTo>
                    <a:pt x="804" y="970"/>
                    <a:pt x="835" y="913"/>
                    <a:pt x="904" y="881"/>
                  </a:cubicBezTo>
                  <a:cubicBezTo>
                    <a:pt x="961" y="853"/>
                    <a:pt x="994" y="853"/>
                    <a:pt x="1053" y="878"/>
                  </a:cubicBezTo>
                  <a:cubicBezTo>
                    <a:pt x="1176" y="929"/>
                    <a:pt x="1187" y="1116"/>
                    <a:pt x="1073" y="1183"/>
                  </a:cubicBezTo>
                  <a:cubicBezTo>
                    <a:pt x="1052" y="1195"/>
                    <a:pt x="1008" y="1205"/>
                    <a:pt x="974" y="1205"/>
                  </a:cubicBezTo>
                  <a:cubicBezTo>
                    <a:pt x="923" y="1205"/>
                    <a:pt x="905" y="1198"/>
                    <a:pt x="865" y="1161"/>
                  </a:cubicBezTo>
                  <a:close/>
                  <a:moveTo>
                    <a:pt x="1299" y="1185"/>
                  </a:moveTo>
                  <a:cubicBezTo>
                    <a:pt x="1248" y="1157"/>
                    <a:pt x="1218" y="1103"/>
                    <a:pt x="1217" y="1038"/>
                  </a:cubicBezTo>
                  <a:cubicBezTo>
                    <a:pt x="1216" y="970"/>
                    <a:pt x="1244" y="921"/>
                    <a:pt x="1304" y="884"/>
                  </a:cubicBezTo>
                  <a:cubicBezTo>
                    <a:pt x="1360" y="850"/>
                    <a:pt x="1419" y="852"/>
                    <a:pt x="1475" y="889"/>
                  </a:cubicBezTo>
                  <a:cubicBezTo>
                    <a:pt x="1626" y="990"/>
                    <a:pt x="1564" y="1206"/>
                    <a:pt x="1384" y="1205"/>
                  </a:cubicBezTo>
                  <a:cubicBezTo>
                    <a:pt x="1356" y="1204"/>
                    <a:pt x="1318" y="1196"/>
                    <a:pt x="1299" y="1185"/>
                  </a:cubicBezTo>
                  <a:close/>
                  <a:moveTo>
                    <a:pt x="1698" y="1183"/>
                  </a:moveTo>
                  <a:cubicBezTo>
                    <a:pt x="1586" y="1113"/>
                    <a:pt x="1599" y="928"/>
                    <a:pt x="1720" y="878"/>
                  </a:cubicBezTo>
                  <a:cubicBezTo>
                    <a:pt x="1779" y="853"/>
                    <a:pt x="1812" y="853"/>
                    <a:pt x="1870" y="881"/>
                  </a:cubicBezTo>
                  <a:cubicBezTo>
                    <a:pt x="1991" y="938"/>
                    <a:pt x="2000" y="1116"/>
                    <a:pt x="1886" y="1183"/>
                  </a:cubicBezTo>
                  <a:cubicBezTo>
                    <a:pt x="1839" y="1211"/>
                    <a:pt x="1744" y="1211"/>
                    <a:pt x="1698" y="1183"/>
                  </a:cubicBezTo>
                  <a:close/>
                  <a:moveTo>
                    <a:pt x="2103" y="1178"/>
                  </a:moveTo>
                  <a:cubicBezTo>
                    <a:pt x="2019" y="1127"/>
                    <a:pt x="2000" y="1011"/>
                    <a:pt x="2062" y="933"/>
                  </a:cubicBezTo>
                  <a:cubicBezTo>
                    <a:pt x="2137" y="837"/>
                    <a:pt x="2263" y="836"/>
                    <a:pt x="2338" y="932"/>
                  </a:cubicBezTo>
                  <a:cubicBezTo>
                    <a:pt x="2457" y="1083"/>
                    <a:pt x="2269" y="1279"/>
                    <a:pt x="2103" y="1178"/>
                  </a:cubicBezTo>
                  <a:close/>
                  <a:moveTo>
                    <a:pt x="2491" y="1161"/>
                  </a:moveTo>
                  <a:cubicBezTo>
                    <a:pt x="2396" y="1074"/>
                    <a:pt x="2424" y="919"/>
                    <a:pt x="2543" y="874"/>
                  </a:cubicBezTo>
                  <a:cubicBezTo>
                    <a:pt x="2675" y="824"/>
                    <a:pt x="2808" y="944"/>
                    <a:pt x="2774" y="1080"/>
                  </a:cubicBezTo>
                  <a:cubicBezTo>
                    <a:pt x="2769" y="1100"/>
                    <a:pt x="2745" y="1136"/>
                    <a:pt x="2721" y="1161"/>
                  </a:cubicBezTo>
                  <a:cubicBezTo>
                    <a:pt x="2682" y="1199"/>
                    <a:pt x="2667" y="1205"/>
                    <a:pt x="2608" y="1205"/>
                  </a:cubicBezTo>
                  <a:cubicBezTo>
                    <a:pt x="2549" y="1205"/>
                    <a:pt x="2533" y="1199"/>
                    <a:pt x="2491" y="1161"/>
                  </a:cubicBezTo>
                  <a:close/>
                  <a:moveTo>
                    <a:pt x="891" y="779"/>
                  </a:moveTo>
                  <a:cubicBezTo>
                    <a:pt x="791" y="718"/>
                    <a:pt x="779" y="582"/>
                    <a:pt x="865" y="502"/>
                  </a:cubicBezTo>
                  <a:cubicBezTo>
                    <a:pt x="906" y="465"/>
                    <a:pt x="923" y="458"/>
                    <a:pt x="981" y="458"/>
                  </a:cubicBezTo>
                  <a:cubicBezTo>
                    <a:pt x="1043" y="458"/>
                    <a:pt x="1055" y="463"/>
                    <a:pt x="1102" y="510"/>
                  </a:cubicBezTo>
                  <a:cubicBezTo>
                    <a:pt x="1146" y="555"/>
                    <a:pt x="1153" y="570"/>
                    <a:pt x="1153" y="620"/>
                  </a:cubicBezTo>
                  <a:cubicBezTo>
                    <a:pt x="1153" y="764"/>
                    <a:pt x="1009" y="851"/>
                    <a:pt x="891" y="779"/>
                  </a:cubicBezTo>
                  <a:close/>
                  <a:moveTo>
                    <a:pt x="1327" y="796"/>
                  </a:moveTo>
                  <a:cubicBezTo>
                    <a:pt x="1286" y="781"/>
                    <a:pt x="1232" y="718"/>
                    <a:pt x="1219" y="669"/>
                  </a:cubicBezTo>
                  <a:cubicBezTo>
                    <a:pt x="1208" y="627"/>
                    <a:pt x="1210" y="608"/>
                    <a:pt x="1232" y="559"/>
                  </a:cubicBezTo>
                  <a:cubicBezTo>
                    <a:pt x="1261" y="492"/>
                    <a:pt x="1313" y="458"/>
                    <a:pt x="1387" y="458"/>
                  </a:cubicBezTo>
                  <a:cubicBezTo>
                    <a:pt x="1558" y="458"/>
                    <a:pt x="1622" y="656"/>
                    <a:pt x="1487" y="769"/>
                  </a:cubicBezTo>
                  <a:cubicBezTo>
                    <a:pt x="1446" y="804"/>
                    <a:pt x="1380" y="815"/>
                    <a:pt x="1327" y="796"/>
                  </a:cubicBezTo>
                  <a:close/>
                  <a:moveTo>
                    <a:pt x="1331" y="384"/>
                  </a:moveTo>
                  <a:cubicBezTo>
                    <a:pt x="1174" y="330"/>
                    <a:pt x="1177" y="110"/>
                    <a:pt x="1335" y="58"/>
                  </a:cubicBezTo>
                  <a:cubicBezTo>
                    <a:pt x="1511" y="0"/>
                    <a:pt x="1644" y="246"/>
                    <a:pt x="1496" y="356"/>
                  </a:cubicBezTo>
                  <a:cubicBezTo>
                    <a:pt x="1441" y="398"/>
                    <a:pt x="1394" y="405"/>
                    <a:pt x="1331" y="384"/>
                  </a:cubicBez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51430" tIns="25715" rIns="51430" bIns="25715" numCol="1" anchor="t" anchorCtr="0" compatLnSpc="1">
              <a:prstTxWarp prst="textNoShape">
                <a:avLst/>
              </a:prstTxWarp>
            </a:bodyPr>
            <a:lstStyle/>
            <a:p>
              <a:endParaRPr lang="en-US" sz="900"/>
            </a:p>
          </p:txBody>
        </p:sp>
        <p:sp>
          <p:nvSpPr>
            <p:cNvPr id="10" name="Freeform 8"/>
            <p:cNvSpPr>
              <a:spLocks noEditPoints="1"/>
            </p:cNvSpPr>
            <p:nvPr/>
          </p:nvSpPr>
          <p:spPr bwMode="gray">
            <a:xfrm>
              <a:off x="5867519" y="1723273"/>
              <a:ext cx="545548" cy="595683"/>
            </a:xfrm>
            <a:custGeom>
              <a:avLst/>
              <a:gdLst>
                <a:gd name="T0" fmla="*/ 2469 w 4398"/>
                <a:gd name="T1" fmla="*/ 4420 h 4800"/>
                <a:gd name="T2" fmla="*/ 3716 w 4398"/>
                <a:gd name="T3" fmla="*/ 3902 h 4800"/>
                <a:gd name="T4" fmla="*/ 2473 w 4398"/>
                <a:gd name="T5" fmla="*/ 4601 h 4800"/>
                <a:gd name="T6" fmla="*/ 2289 w 4398"/>
                <a:gd name="T7" fmla="*/ 4686 h 4800"/>
                <a:gd name="T8" fmla="*/ 1454 w 4398"/>
                <a:gd name="T9" fmla="*/ 4448 h 4800"/>
                <a:gd name="T10" fmla="*/ 197 w 4398"/>
                <a:gd name="T11" fmla="*/ 3690 h 4800"/>
                <a:gd name="T12" fmla="*/ 627 w 4398"/>
                <a:gd name="T13" fmla="*/ 3452 h 4800"/>
                <a:gd name="T14" fmla="*/ 1095 w 4398"/>
                <a:gd name="T15" fmla="*/ 4149 h 4800"/>
                <a:gd name="T16" fmla="*/ 1454 w 4398"/>
                <a:gd name="T17" fmla="*/ 4448 h 4800"/>
                <a:gd name="T18" fmla="*/ 372 w 4398"/>
                <a:gd name="T19" fmla="*/ 3626 h 4800"/>
                <a:gd name="T20" fmla="*/ 4027 w 4398"/>
                <a:gd name="T21" fmla="*/ 3205 h 4800"/>
                <a:gd name="T22" fmla="*/ 4235 w 4398"/>
                <a:gd name="T23" fmla="*/ 2014 h 4800"/>
                <a:gd name="T24" fmla="*/ 4346 w 4398"/>
                <a:gd name="T25" fmla="*/ 1944 h 4800"/>
                <a:gd name="T26" fmla="*/ 4263 w 4398"/>
                <a:gd name="T27" fmla="*/ 3312 h 4800"/>
                <a:gd name="T28" fmla="*/ 4108 w 4398"/>
                <a:gd name="T29" fmla="*/ 3647 h 4800"/>
                <a:gd name="T30" fmla="*/ 4108 w 4398"/>
                <a:gd name="T31" fmla="*/ 3647 h 4800"/>
                <a:gd name="T32" fmla="*/ 791 w 4398"/>
                <a:gd name="T33" fmla="*/ 3187 h 4800"/>
                <a:gd name="T34" fmla="*/ 1408 w 4398"/>
                <a:gd name="T35" fmla="*/ 2214 h 4800"/>
                <a:gd name="T36" fmla="*/ 1695 w 4398"/>
                <a:gd name="T37" fmla="*/ 2400 h 4800"/>
                <a:gd name="T38" fmla="*/ 2207 w 4398"/>
                <a:gd name="T39" fmla="*/ 2913 h 4800"/>
                <a:gd name="T40" fmla="*/ 2720 w 4398"/>
                <a:gd name="T41" fmla="*/ 2400 h 4800"/>
                <a:gd name="T42" fmla="*/ 3008 w 4398"/>
                <a:gd name="T43" fmla="*/ 2214 h 4800"/>
                <a:gd name="T44" fmla="*/ 3628 w 4398"/>
                <a:gd name="T45" fmla="*/ 3143 h 4800"/>
                <a:gd name="T46" fmla="*/ 3267 w 4398"/>
                <a:gd name="T47" fmla="*/ 3313 h 4800"/>
                <a:gd name="T48" fmla="*/ 1162 w 4398"/>
                <a:gd name="T49" fmla="*/ 3313 h 4800"/>
                <a:gd name="T50" fmla="*/ 2461 w 4398"/>
                <a:gd name="T51" fmla="*/ 2780 h 4800"/>
                <a:gd name="T52" fmla="*/ 1942 w 4398"/>
                <a:gd name="T53" fmla="*/ 2771 h 4800"/>
                <a:gd name="T54" fmla="*/ 1274 w 4398"/>
                <a:gd name="T55" fmla="*/ 3270 h 4800"/>
                <a:gd name="T56" fmla="*/ 3132 w 4398"/>
                <a:gd name="T57" fmla="*/ 3277 h 4800"/>
                <a:gd name="T58" fmla="*/ 3062 w 4398"/>
                <a:gd name="T59" fmla="*/ 2366 h 4800"/>
                <a:gd name="T60" fmla="*/ 3227 w 4398"/>
                <a:gd name="T61" fmla="*/ 2990 h 4800"/>
                <a:gd name="T62" fmla="*/ 3501 w 4398"/>
                <a:gd name="T63" fmla="*/ 3016 h 4800"/>
                <a:gd name="T64" fmla="*/ 1352 w 4398"/>
                <a:gd name="T65" fmla="*/ 2347 h 4800"/>
                <a:gd name="T66" fmla="*/ 914 w 4398"/>
                <a:gd name="T67" fmla="*/ 3053 h 4800"/>
                <a:gd name="T68" fmla="*/ 83 w 4398"/>
                <a:gd name="T69" fmla="*/ 2924 h 4800"/>
                <a:gd name="T70" fmla="*/ 147 w 4398"/>
                <a:gd name="T71" fmla="*/ 1522 h 4800"/>
                <a:gd name="T72" fmla="*/ 379 w 4398"/>
                <a:gd name="T73" fmla="*/ 1612 h 4800"/>
                <a:gd name="T74" fmla="*/ 190 w 4398"/>
                <a:gd name="T75" fmla="*/ 2890 h 4800"/>
                <a:gd name="T76" fmla="*/ 83 w 4398"/>
                <a:gd name="T77" fmla="*/ 2924 h 4800"/>
                <a:gd name="T78" fmla="*/ 366 w 4398"/>
                <a:gd name="T79" fmla="*/ 1160 h 4800"/>
                <a:gd name="T80" fmla="*/ 464 w 4398"/>
                <a:gd name="T81" fmla="*/ 1471 h 4800"/>
                <a:gd name="T82" fmla="*/ 1378 w 4398"/>
                <a:gd name="T83" fmla="*/ 2073 h 4800"/>
                <a:gd name="T84" fmla="*/ 2021 w 4398"/>
                <a:gd name="T85" fmla="*/ 1408 h 4800"/>
                <a:gd name="T86" fmla="*/ 2844 w 4398"/>
                <a:gd name="T87" fmla="*/ 1392 h 4800"/>
                <a:gd name="T88" fmla="*/ 2608 w 4398"/>
                <a:gd name="T89" fmla="*/ 2231 h 4800"/>
                <a:gd name="T90" fmla="*/ 2459 w 4398"/>
                <a:gd name="T91" fmla="*/ 1581 h 4800"/>
                <a:gd name="T92" fmla="*/ 1781 w 4398"/>
                <a:gd name="T93" fmla="*/ 2110 h 4800"/>
                <a:gd name="T94" fmla="*/ 1742 w 4398"/>
                <a:gd name="T95" fmla="*/ 1484 h 4800"/>
                <a:gd name="T96" fmla="*/ 2818 w 4398"/>
                <a:gd name="T97" fmla="*/ 2099 h 4800"/>
                <a:gd name="T98" fmla="*/ 2553 w 4398"/>
                <a:gd name="T99" fmla="*/ 1519 h 4800"/>
                <a:gd name="T100" fmla="*/ 2622 w 4398"/>
                <a:gd name="T101" fmla="*/ 2120 h 4800"/>
                <a:gd name="T102" fmla="*/ 3836 w 4398"/>
                <a:gd name="T103" fmla="*/ 1198 h 4800"/>
                <a:gd name="T104" fmla="*/ 2843 w 4398"/>
                <a:gd name="T105" fmla="*/ 433 h 4800"/>
                <a:gd name="T106" fmla="*/ 3138 w 4398"/>
                <a:gd name="T107" fmla="*/ 421 h 4800"/>
                <a:gd name="T108" fmla="*/ 4039 w 4398"/>
                <a:gd name="T109" fmla="*/ 1083 h 4800"/>
                <a:gd name="T110" fmla="*/ 4241 w 4398"/>
                <a:gd name="T111" fmla="*/ 1334 h 4800"/>
                <a:gd name="T112" fmla="*/ 675 w 4398"/>
                <a:gd name="T113" fmla="*/ 914 h 4800"/>
                <a:gd name="T114" fmla="*/ 1933 w 4398"/>
                <a:gd name="T115" fmla="*/ 193 h 4800"/>
                <a:gd name="T116" fmla="*/ 2493 w 4398"/>
                <a:gd name="T117" fmla="*/ 273 h 4800"/>
                <a:gd name="T118" fmla="*/ 1794 w 4398"/>
                <a:gd name="T119" fmla="*/ 373 h 4800"/>
                <a:gd name="T120" fmla="*/ 2287 w 4398"/>
                <a:gd name="T121" fmla="*/ 426 h 4800"/>
                <a:gd name="T122" fmla="*/ 2138 w 4398"/>
                <a:gd name="T123" fmla="*/ 117 h 4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398" h="4800">
                  <a:moveTo>
                    <a:pt x="2058" y="4770"/>
                  </a:moveTo>
                  <a:cubicBezTo>
                    <a:pt x="1990" y="4729"/>
                    <a:pt x="1945" y="4663"/>
                    <a:pt x="1927" y="4579"/>
                  </a:cubicBezTo>
                  <a:cubicBezTo>
                    <a:pt x="1868" y="4295"/>
                    <a:pt x="2226" y="4120"/>
                    <a:pt x="2417" y="4338"/>
                  </a:cubicBezTo>
                  <a:cubicBezTo>
                    <a:pt x="2441" y="4365"/>
                    <a:pt x="2464" y="4402"/>
                    <a:pt x="2469" y="4420"/>
                  </a:cubicBezTo>
                  <a:cubicBezTo>
                    <a:pt x="2476" y="4448"/>
                    <a:pt x="2483" y="4451"/>
                    <a:pt x="2519" y="4445"/>
                  </a:cubicBezTo>
                  <a:cubicBezTo>
                    <a:pt x="2924" y="4377"/>
                    <a:pt x="3268" y="4217"/>
                    <a:pt x="3566" y="3959"/>
                  </a:cubicBezTo>
                  <a:lnTo>
                    <a:pt x="3677" y="3864"/>
                  </a:lnTo>
                  <a:lnTo>
                    <a:pt x="3716" y="3902"/>
                  </a:lnTo>
                  <a:lnTo>
                    <a:pt x="3755" y="3941"/>
                  </a:lnTo>
                  <a:lnTo>
                    <a:pt x="3647" y="4034"/>
                  </a:lnTo>
                  <a:cubicBezTo>
                    <a:pt x="3340" y="4298"/>
                    <a:pt x="3006" y="4464"/>
                    <a:pt x="2636" y="4538"/>
                  </a:cubicBezTo>
                  <a:cubicBezTo>
                    <a:pt x="2497" y="4566"/>
                    <a:pt x="2481" y="4573"/>
                    <a:pt x="2473" y="4601"/>
                  </a:cubicBezTo>
                  <a:cubicBezTo>
                    <a:pt x="2456" y="4666"/>
                    <a:pt x="2418" y="4721"/>
                    <a:pt x="2365" y="4760"/>
                  </a:cubicBezTo>
                  <a:cubicBezTo>
                    <a:pt x="2315" y="4796"/>
                    <a:pt x="2300" y="4800"/>
                    <a:pt x="2209" y="4800"/>
                  </a:cubicBezTo>
                  <a:cubicBezTo>
                    <a:pt x="2127" y="4800"/>
                    <a:pt x="2098" y="4794"/>
                    <a:pt x="2058" y="4770"/>
                  </a:cubicBezTo>
                  <a:close/>
                  <a:moveTo>
                    <a:pt x="2289" y="4686"/>
                  </a:moveTo>
                  <a:cubicBezTo>
                    <a:pt x="2408" y="4624"/>
                    <a:pt x="2408" y="4442"/>
                    <a:pt x="2289" y="4381"/>
                  </a:cubicBezTo>
                  <a:cubicBezTo>
                    <a:pt x="2207" y="4338"/>
                    <a:pt x="2108" y="4366"/>
                    <a:pt x="2060" y="4444"/>
                  </a:cubicBezTo>
                  <a:cubicBezTo>
                    <a:pt x="1970" y="4592"/>
                    <a:pt x="2134" y="4766"/>
                    <a:pt x="2289" y="4686"/>
                  </a:cubicBezTo>
                  <a:close/>
                  <a:moveTo>
                    <a:pt x="1454" y="4448"/>
                  </a:moveTo>
                  <a:cubicBezTo>
                    <a:pt x="1113" y="4323"/>
                    <a:pt x="779" y="4091"/>
                    <a:pt x="545" y="3816"/>
                  </a:cubicBezTo>
                  <a:lnTo>
                    <a:pt x="471" y="3728"/>
                  </a:lnTo>
                  <a:lnTo>
                    <a:pt x="362" y="3727"/>
                  </a:lnTo>
                  <a:cubicBezTo>
                    <a:pt x="266" y="3727"/>
                    <a:pt x="245" y="3722"/>
                    <a:pt x="197" y="3690"/>
                  </a:cubicBezTo>
                  <a:cubicBezTo>
                    <a:pt x="131" y="3647"/>
                    <a:pt x="77" y="3559"/>
                    <a:pt x="66" y="3479"/>
                  </a:cubicBezTo>
                  <a:cubicBezTo>
                    <a:pt x="43" y="3308"/>
                    <a:pt x="177" y="3160"/>
                    <a:pt x="355" y="3160"/>
                  </a:cubicBezTo>
                  <a:cubicBezTo>
                    <a:pt x="428" y="3160"/>
                    <a:pt x="540" y="3223"/>
                    <a:pt x="587" y="3291"/>
                  </a:cubicBezTo>
                  <a:cubicBezTo>
                    <a:pt x="623" y="3343"/>
                    <a:pt x="627" y="3359"/>
                    <a:pt x="627" y="3452"/>
                  </a:cubicBezTo>
                  <a:cubicBezTo>
                    <a:pt x="627" y="3542"/>
                    <a:pt x="623" y="3562"/>
                    <a:pt x="591" y="3610"/>
                  </a:cubicBezTo>
                  <a:lnTo>
                    <a:pt x="555" y="3665"/>
                  </a:lnTo>
                  <a:lnTo>
                    <a:pt x="691" y="3807"/>
                  </a:lnTo>
                  <a:cubicBezTo>
                    <a:pt x="818" y="3941"/>
                    <a:pt x="969" y="4069"/>
                    <a:pt x="1095" y="4149"/>
                  </a:cubicBezTo>
                  <a:cubicBezTo>
                    <a:pt x="1189" y="4209"/>
                    <a:pt x="1409" y="4315"/>
                    <a:pt x="1521" y="4354"/>
                  </a:cubicBezTo>
                  <a:cubicBezTo>
                    <a:pt x="1579" y="4374"/>
                    <a:pt x="1629" y="4392"/>
                    <a:pt x="1632" y="4394"/>
                  </a:cubicBezTo>
                  <a:cubicBezTo>
                    <a:pt x="1634" y="4396"/>
                    <a:pt x="1632" y="4419"/>
                    <a:pt x="1627" y="4445"/>
                  </a:cubicBezTo>
                  <a:cubicBezTo>
                    <a:pt x="1616" y="4504"/>
                    <a:pt x="1609" y="4505"/>
                    <a:pt x="1454" y="4448"/>
                  </a:cubicBezTo>
                  <a:close/>
                  <a:moveTo>
                    <a:pt x="468" y="3582"/>
                  </a:moveTo>
                  <a:cubicBezTo>
                    <a:pt x="543" y="3507"/>
                    <a:pt x="546" y="3403"/>
                    <a:pt x="475" y="3333"/>
                  </a:cubicBezTo>
                  <a:cubicBezTo>
                    <a:pt x="401" y="3258"/>
                    <a:pt x="270" y="3271"/>
                    <a:pt x="211" y="3359"/>
                  </a:cubicBezTo>
                  <a:cubicBezTo>
                    <a:pt x="131" y="3478"/>
                    <a:pt x="220" y="3625"/>
                    <a:pt x="372" y="3626"/>
                  </a:cubicBezTo>
                  <a:cubicBezTo>
                    <a:pt x="413" y="3627"/>
                    <a:pt x="433" y="3617"/>
                    <a:pt x="468" y="3582"/>
                  </a:cubicBezTo>
                  <a:close/>
                  <a:moveTo>
                    <a:pt x="3907" y="3748"/>
                  </a:moveTo>
                  <a:cubicBezTo>
                    <a:pt x="3812" y="3705"/>
                    <a:pt x="3741" y="3597"/>
                    <a:pt x="3741" y="3496"/>
                  </a:cubicBezTo>
                  <a:cubicBezTo>
                    <a:pt x="3741" y="3330"/>
                    <a:pt x="3857" y="3213"/>
                    <a:pt x="4027" y="3205"/>
                  </a:cubicBezTo>
                  <a:lnTo>
                    <a:pt x="4107" y="3202"/>
                  </a:lnTo>
                  <a:lnTo>
                    <a:pt x="4131" y="3144"/>
                  </a:lnTo>
                  <a:cubicBezTo>
                    <a:pt x="4177" y="3037"/>
                    <a:pt x="4235" y="2807"/>
                    <a:pt x="4256" y="2647"/>
                  </a:cubicBezTo>
                  <a:cubicBezTo>
                    <a:pt x="4282" y="2451"/>
                    <a:pt x="4274" y="2215"/>
                    <a:pt x="4235" y="2014"/>
                  </a:cubicBezTo>
                  <a:cubicBezTo>
                    <a:pt x="4220" y="1938"/>
                    <a:pt x="4210" y="1873"/>
                    <a:pt x="4212" y="1871"/>
                  </a:cubicBezTo>
                  <a:cubicBezTo>
                    <a:pt x="4213" y="1869"/>
                    <a:pt x="4240" y="1864"/>
                    <a:pt x="4270" y="1859"/>
                  </a:cubicBezTo>
                  <a:lnTo>
                    <a:pt x="4325" y="1850"/>
                  </a:lnTo>
                  <a:lnTo>
                    <a:pt x="4346" y="1944"/>
                  </a:lnTo>
                  <a:cubicBezTo>
                    <a:pt x="4383" y="2106"/>
                    <a:pt x="4398" y="2303"/>
                    <a:pt x="4389" y="2500"/>
                  </a:cubicBezTo>
                  <a:cubicBezTo>
                    <a:pt x="4380" y="2721"/>
                    <a:pt x="4348" y="2887"/>
                    <a:pt x="4277" y="3101"/>
                  </a:cubicBezTo>
                  <a:lnTo>
                    <a:pt x="4225" y="3258"/>
                  </a:lnTo>
                  <a:lnTo>
                    <a:pt x="4263" y="3312"/>
                  </a:lnTo>
                  <a:cubicBezTo>
                    <a:pt x="4309" y="3378"/>
                    <a:pt x="4327" y="3502"/>
                    <a:pt x="4301" y="3579"/>
                  </a:cubicBezTo>
                  <a:cubicBezTo>
                    <a:pt x="4279" y="3646"/>
                    <a:pt x="4213" y="3719"/>
                    <a:pt x="4148" y="3748"/>
                  </a:cubicBezTo>
                  <a:cubicBezTo>
                    <a:pt x="4079" y="3780"/>
                    <a:pt x="3976" y="3779"/>
                    <a:pt x="3907" y="3748"/>
                  </a:cubicBezTo>
                  <a:close/>
                  <a:moveTo>
                    <a:pt x="4108" y="3647"/>
                  </a:moveTo>
                  <a:cubicBezTo>
                    <a:pt x="4246" y="3590"/>
                    <a:pt x="4237" y="3370"/>
                    <a:pt x="4094" y="3323"/>
                  </a:cubicBezTo>
                  <a:cubicBezTo>
                    <a:pt x="4008" y="3294"/>
                    <a:pt x="3924" y="3330"/>
                    <a:pt x="3880" y="3414"/>
                  </a:cubicBezTo>
                  <a:cubicBezTo>
                    <a:pt x="3839" y="3494"/>
                    <a:pt x="3873" y="3598"/>
                    <a:pt x="3955" y="3642"/>
                  </a:cubicBezTo>
                  <a:cubicBezTo>
                    <a:pt x="4010" y="3672"/>
                    <a:pt x="4047" y="3673"/>
                    <a:pt x="4108" y="3647"/>
                  </a:cubicBezTo>
                  <a:close/>
                  <a:moveTo>
                    <a:pt x="1162" y="3313"/>
                  </a:moveTo>
                  <a:lnTo>
                    <a:pt x="1171" y="3187"/>
                  </a:lnTo>
                  <a:lnTo>
                    <a:pt x="981" y="3187"/>
                  </a:lnTo>
                  <a:lnTo>
                    <a:pt x="791" y="3187"/>
                  </a:lnTo>
                  <a:lnTo>
                    <a:pt x="800" y="3077"/>
                  </a:lnTo>
                  <a:cubicBezTo>
                    <a:pt x="833" y="2675"/>
                    <a:pt x="862" y="2540"/>
                    <a:pt x="934" y="2445"/>
                  </a:cubicBezTo>
                  <a:cubicBezTo>
                    <a:pt x="987" y="2376"/>
                    <a:pt x="1049" y="2341"/>
                    <a:pt x="1237" y="2274"/>
                  </a:cubicBezTo>
                  <a:lnTo>
                    <a:pt x="1408" y="2214"/>
                  </a:lnTo>
                  <a:lnTo>
                    <a:pt x="1426" y="2244"/>
                  </a:lnTo>
                  <a:cubicBezTo>
                    <a:pt x="1437" y="2260"/>
                    <a:pt x="1465" y="2314"/>
                    <a:pt x="1489" y="2363"/>
                  </a:cubicBezTo>
                  <a:cubicBezTo>
                    <a:pt x="1513" y="2413"/>
                    <a:pt x="1537" y="2453"/>
                    <a:pt x="1541" y="2453"/>
                  </a:cubicBezTo>
                  <a:cubicBezTo>
                    <a:pt x="1545" y="2453"/>
                    <a:pt x="1614" y="2429"/>
                    <a:pt x="1695" y="2400"/>
                  </a:cubicBezTo>
                  <a:cubicBezTo>
                    <a:pt x="1775" y="2371"/>
                    <a:pt x="1844" y="2352"/>
                    <a:pt x="1849" y="2357"/>
                  </a:cubicBezTo>
                  <a:cubicBezTo>
                    <a:pt x="1854" y="2362"/>
                    <a:pt x="1924" y="2490"/>
                    <a:pt x="2005" y="2640"/>
                  </a:cubicBezTo>
                  <a:lnTo>
                    <a:pt x="2153" y="2913"/>
                  </a:lnTo>
                  <a:lnTo>
                    <a:pt x="2207" y="2913"/>
                  </a:lnTo>
                  <a:lnTo>
                    <a:pt x="2262" y="2913"/>
                  </a:lnTo>
                  <a:lnTo>
                    <a:pt x="2410" y="2640"/>
                  </a:lnTo>
                  <a:cubicBezTo>
                    <a:pt x="2491" y="2490"/>
                    <a:pt x="2561" y="2362"/>
                    <a:pt x="2566" y="2357"/>
                  </a:cubicBezTo>
                  <a:cubicBezTo>
                    <a:pt x="2571" y="2352"/>
                    <a:pt x="2640" y="2371"/>
                    <a:pt x="2720" y="2400"/>
                  </a:cubicBezTo>
                  <a:cubicBezTo>
                    <a:pt x="2800" y="2429"/>
                    <a:pt x="2870" y="2453"/>
                    <a:pt x="2874" y="2453"/>
                  </a:cubicBezTo>
                  <a:cubicBezTo>
                    <a:pt x="2878" y="2453"/>
                    <a:pt x="2901" y="2413"/>
                    <a:pt x="2926" y="2363"/>
                  </a:cubicBezTo>
                  <a:cubicBezTo>
                    <a:pt x="2950" y="2314"/>
                    <a:pt x="2978" y="2260"/>
                    <a:pt x="2989" y="2244"/>
                  </a:cubicBezTo>
                  <a:lnTo>
                    <a:pt x="3008" y="2214"/>
                  </a:lnTo>
                  <a:lnTo>
                    <a:pt x="3175" y="2273"/>
                  </a:lnTo>
                  <a:cubicBezTo>
                    <a:pt x="3361" y="2338"/>
                    <a:pt x="3414" y="2367"/>
                    <a:pt x="3472" y="2433"/>
                  </a:cubicBezTo>
                  <a:cubicBezTo>
                    <a:pt x="3546" y="2517"/>
                    <a:pt x="3579" y="2643"/>
                    <a:pt x="3607" y="2947"/>
                  </a:cubicBezTo>
                  <a:cubicBezTo>
                    <a:pt x="3615" y="3031"/>
                    <a:pt x="3624" y="3119"/>
                    <a:pt x="3628" y="3143"/>
                  </a:cubicBezTo>
                  <a:lnTo>
                    <a:pt x="3635" y="3187"/>
                  </a:lnTo>
                  <a:lnTo>
                    <a:pt x="3446" y="3187"/>
                  </a:lnTo>
                  <a:lnTo>
                    <a:pt x="3258" y="3187"/>
                  </a:lnTo>
                  <a:lnTo>
                    <a:pt x="3267" y="3313"/>
                  </a:lnTo>
                  <a:lnTo>
                    <a:pt x="3277" y="3440"/>
                  </a:lnTo>
                  <a:lnTo>
                    <a:pt x="2215" y="3440"/>
                  </a:lnTo>
                  <a:lnTo>
                    <a:pt x="1152" y="3440"/>
                  </a:lnTo>
                  <a:lnTo>
                    <a:pt x="1162" y="3313"/>
                  </a:lnTo>
                  <a:close/>
                  <a:moveTo>
                    <a:pt x="3132" y="3277"/>
                  </a:moveTo>
                  <a:cubicBezTo>
                    <a:pt x="3089" y="2797"/>
                    <a:pt x="3049" y="2670"/>
                    <a:pt x="2923" y="2604"/>
                  </a:cubicBezTo>
                  <a:cubicBezTo>
                    <a:pt x="2848" y="2565"/>
                    <a:pt x="2616" y="2493"/>
                    <a:pt x="2608" y="2506"/>
                  </a:cubicBezTo>
                  <a:cubicBezTo>
                    <a:pt x="2604" y="2513"/>
                    <a:pt x="2538" y="2636"/>
                    <a:pt x="2461" y="2780"/>
                  </a:cubicBezTo>
                  <a:lnTo>
                    <a:pt x="2322" y="3041"/>
                  </a:lnTo>
                  <a:lnTo>
                    <a:pt x="2202" y="3037"/>
                  </a:lnTo>
                  <a:lnTo>
                    <a:pt x="2082" y="3033"/>
                  </a:lnTo>
                  <a:lnTo>
                    <a:pt x="1942" y="2771"/>
                  </a:lnTo>
                  <a:cubicBezTo>
                    <a:pt x="1864" y="2626"/>
                    <a:pt x="1797" y="2505"/>
                    <a:pt x="1793" y="2500"/>
                  </a:cubicBezTo>
                  <a:cubicBezTo>
                    <a:pt x="1779" y="2487"/>
                    <a:pt x="1490" y="2605"/>
                    <a:pt x="1441" y="2643"/>
                  </a:cubicBezTo>
                  <a:cubicBezTo>
                    <a:pt x="1364" y="2705"/>
                    <a:pt x="1330" y="2796"/>
                    <a:pt x="1301" y="3020"/>
                  </a:cubicBezTo>
                  <a:cubicBezTo>
                    <a:pt x="1286" y="3130"/>
                    <a:pt x="1275" y="3242"/>
                    <a:pt x="1274" y="3270"/>
                  </a:cubicBezTo>
                  <a:lnTo>
                    <a:pt x="1274" y="3320"/>
                  </a:lnTo>
                  <a:lnTo>
                    <a:pt x="2205" y="3320"/>
                  </a:lnTo>
                  <a:lnTo>
                    <a:pt x="3135" y="3320"/>
                  </a:lnTo>
                  <a:lnTo>
                    <a:pt x="3132" y="3277"/>
                  </a:lnTo>
                  <a:close/>
                  <a:moveTo>
                    <a:pt x="3501" y="3016"/>
                  </a:moveTo>
                  <a:cubicBezTo>
                    <a:pt x="3501" y="2920"/>
                    <a:pt x="3462" y="2656"/>
                    <a:pt x="3441" y="2605"/>
                  </a:cubicBezTo>
                  <a:cubicBezTo>
                    <a:pt x="3414" y="2541"/>
                    <a:pt x="3362" y="2485"/>
                    <a:pt x="3299" y="2452"/>
                  </a:cubicBezTo>
                  <a:cubicBezTo>
                    <a:pt x="3227" y="2416"/>
                    <a:pt x="3073" y="2359"/>
                    <a:pt x="3062" y="2366"/>
                  </a:cubicBezTo>
                  <a:cubicBezTo>
                    <a:pt x="3057" y="2369"/>
                    <a:pt x="3039" y="2402"/>
                    <a:pt x="3021" y="2439"/>
                  </a:cubicBezTo>
                  <a:lnTo>
                    <a:pt x="2990" y="2506"/>
                  </a:lnTo>
                  <a:lnTo>
                    <a:pt x="3053" y="2561"/>
                  </a:lnTo>
                  <a:cubicBezTo>
                    <a:pt x="3156" y="2653"/>
                    <a:pt x="3202" y="2765"/>
                    <a:pt x="3227" y="2990"/>
                  </a:cubicBezTo>
                  <a:lnTo>
                    <a:pt x="3236" y="3067"/>
                  </a:lnTo>
                  <a:lnTo>
                    <a:pt x="3368" y="3067"/>
                  </a:lnTo>
                  <a:lnTo>
                    <a:pt x="3501" y="3067"/>
                  </a:lnTo>
                  <a:lnTo>
                    <a:pt x="3501" y="3016"/>
                  </a:lnTo>
                  <a:close/>
                  <a:moveTo>
                    <a:pt x="1194" y="2937"/>
                  </a:moveTo>
                  <a:cubicBezTo>
                    <a:pt x="1214" y="2790"/>
                    <a:pt x="1238" y="2713"/>
                    <a:pt x="1286" y="2637"/>
                  </a:cubicBezTo>
                  <a:cubicBezTo>
                    <a:pt x="1316" y="2590"/>
                    <a:pt x="1382" y="2527"/>
                    <a:pt x="1431" y="2499"/>
                  </a:cubicBezTo>
                  <a:cubicBezTo>
                    <a:pt x="1439" y="2495"/>
                    <a:pt x="1362" y="2347"/>
                    <a:pt x="1352" y="2347"/>
                  </a:cubicBezTo>
                  <a:cubicBezTo>
                    <a:pt x="1347" y="2347"/>
                    <a:pt x="1287" y="2368"/>
                    <a:pt x="1219" y="2394"/>
                  </a:cubicBezTo>
                  <a:cubicBezTo>
                    <a:pt x="1011" y="2473"/>
                    <a:pt x="965" y="2540"/>
                    <a:pt x="933" y="2807"/>
                  </a:cubicBezTo>
                  <a:cubicBezTo>
                    <a:pt x="923" y="2895"/>
                    <a:pt x="914" y="2986"/>
                    <a:pt x="914" y="3010"/>
                  </a:cubicBezTo>
                  <a:lnTo>
                    <a:pt x="914" y="3053"/>
                  </a:lnTo>
                  <a:lnTo>
                    <a:pt x="1046" y="3053"/>
                  </a:lnTo>
                  <a:lnTo>
                    <a:pt x="1178" y="3053"/>
                  </a:lnTo>
                  <a:lnTo>
                    <a:pt x="1194" y="2937"/>
                  </a:lnTo>
                  <a:close/>
                  <a:moveTo>
                    <a:pt x="83" y="2924"/>
                  </a:moveTo>
                  <a:cubicBezTo>
                    <a:pt x="18" y="2640"/>
                    <a:pt x="0" y="2344"/>
                    <a:pt x="33" y="2107"/>
                  </a:cubicBezTo>
                  <a:cubicBezTo>
                    <a:pt x="53" y="1968"/>
                    <a:pt x="104" y="1761"/>
                    <a:pt x="148" y="1645"/>
                  </a:cubicBezTo>
                  <a:lnTo>
                    <a:pt x="180" y="1558"/>
                  </a:lnTo>
                  <a:lnTo>
                    <a:pt x="147" y="1522"/>
                  </a:lnTo>
                  <a:cubicBezTo>
                    <a:pt x="25" y="1391"/>
                    <a:pt x="62" y="1167"/>
                    <a:pt x="220" y="1084"/>
                  </a:cubicBezTo>
                  <a:cubicBezTo>
                    <a:pt x="288" y="1048"/>
                    <a:pt x="409" y="1042"/>
                    <a:pt x="478" y="1071"/>
                  </a:cubicBezTo>
                  <a:cubicBezTo>
                    <a:pt x="624" y="1133"/>
                    <a:pt x="691" y="1326"/>
                    <a:pt x="616" y="1468"/>
                  </a:cubicBezTo>
                  <a:cubicBezTo>
                    <a:pt x="569" y="1558"/>
                    <a:pt x="494" y="1603"/>
                    <a:pt x="379" y="1612"/>
                  </a:cubicBezTo>
                  <a:lnTo>
                    <a:pt x="283" y="1620"/>
                  </a:lnTo>
                  <a:lnTo>
                    <a:pt x="251" y="1713"/>
                  </a:lnTo>
                  <a:cubicBezTo>
                    <a:pt x="171" y="1949"/>
                    <a:pt x="140" y="2145"/>
                    <a:pt x="140" y="2416"/>
                  </a:cubicBezTo>
                  <a:cubicBezTo>
                    <a:pt x="140" y="2616"/>
                    <a:pt x="151" y="2720"/>
                    <a:pt x="190" y="2890"/>
                  </a:cubicBezTo>
                  <a:cubicBezTo>
                    <a:pt x="202" y="2943"/>
                    <a:pt x="209" y="2990"/>
                    <a:pt x="205" y="2994"/>
                  </a:cubicBezTo>
                  <a:cubicBezTo>
                    <a:pt x="201" y="2998"/>
                    <a:pt x="176" y="3004"/>
                    <a:pt x="150" y="3009"/>
                  </a:cubicBezTo>
                  <a:lnTo>
                    <a:pt x="104" y="3016"/>
                  </a:lnTo>
                  <a:lnTo>
                    <a:pt x="83" y="2924"/>
                  </a:lnTo>
                  <a:close/>
                  <a:moveTo>
                    <a:pt x="464" y="1471"/>
                  </a:moveTo>
                  <a:cubicBezTo>
                    <a:pt x="517" y="1444"/>
                    <a:pt x="545" y="1381"/>
                    <a:pt x="537" y="1308"/>
                  </a:cubicBezTo>
                  <a:cubicBezTo>
                    <a:pt x="531" y="1260"/>
                    <a:pt x="520" y="1238"/>
                    <a:pt x="482" y="1204"/>
                  </a:cubicBezTo>
                  <a:cubicBezTo>
                    <a:pt x="441" y="1166"/>
                    <a:pt x="425" y="1160"/>
                    <a:pt x="366" y="1160"/>
                  </a:cubicBezTo>
                  <a:cubicBezTo>
                    <a:pt x="304" y="1160"/>
                    <a:pt x="293" y="1165"/>
                    <a:pt x="246" y="1212"/>
                  </a:cubicBezTo>
                  <a:cubicBezTo>
                    <a:pt x="201" y="1257"/>
                    <a:pt x="194" y="1271"/>
                    <a:pt x="194" y="1325"/>
                  </a:cubicBezTo>
                  <a:cubicBezTo>
                    <a:pt x="194" y="1374"/>
                    <a:pt x="202" y="1395"/>
                    <a:pt x="235" y="1433"/>
                  </a:cubicBezTo>
                  <a:cubicBezTo>
                    <a:pt x="299" y="1505"/>
                    <a:pt x="373" y="1517"/>
                    <a:pt x="464" y="1471"/>
                  </a:cubicBezTo>
                  <a:close/>
                  <a:moveTo>
                    <a:pt x="2074" y="2339"/>
                  </a:moveTo>
                  <a:cubicBezTo>
                    <a:pt x="2034" y="2328"/>
                    <a:pt x="1968" y="2297"/>
                    <a:pt x="1927" y="2269"/>
                  </a:cubicBezTo>
                  <a:cubicBezTo>
                    <a:pt x="1861" y="2224"/>
                    <a:pt x="1848" y="2220"/>
                    <a:pt x="1807" y="2231"/>
                  </a:cubicBezTo>
                  <a:cubicBezTo>
                    <a:pt x="1670" y="2267"/>
                    <a:pt x="1468" y="2192"/>
                    <a:pt x="1378" y="2073"/>
                  </a:cubicBezTo>
                  <a:cubicBezTo>
                    <a:pt x="1306" y="1978"/>
                    <a:pt x="1283" y="1899"/>
                    <a:pt x="1290" y="1775"/>
                  </a:cubicBezTo>
                  <a:cubicBezTo>
                    <a:pt x="1302" y="1576"/>
                    <a:pt x="1424" y="1429"/>
                    <a:pt x="1620" y="1379"/>
                  </a:cubicBezTo>
                  <a:cubicBezTo>
                    <a:pt x="1710" y="1356"/>
                    <a:pt x="1804" y="1366"/>
                    <a:pt x="1905" y="1411"/>
                  </a:cubicBezTo>
                  <a:cubicBezTo>
                    <a:pt x="1960" y="1435"/>
                    <a:pt x="1962" y="1435"/>
                    <a:pt x="2021" y="1408"/>
                  </a:cubicBezTo>
                  <a:cubicBezTo>
                    <a:pt x="2106" y="1368"/>
                    <a:pt x="2308" y="1368"/>
                    <a:pt x="2394" y="1408"/>
                  </a:cubicBezTo>
                  <a:lnTo>
                    <a:pt x="2454" y="1435"/>
                  </a:lnTo>
                  <a:lnTo>
                    <a:pt x="2526" y="1402"/>
                  </a:lnTo>
                  <a:cubicBezTo>
                    <a:pt x="2615" y="1362"/>
                    <a:pt x="2742" y="1357"/>
                    <a:pt x="2844" y="1392"/>
                  </a:cubicBezTo>
                  <a:cubicBezTo>
                    <a:pt x="2931" y="1421"/>
                    <a:pt x="3037" y="1515"/>
                    <a:pt x="3085" y="1605"/>
                  </a:cubicBezTo>
                  <a:cubicBezTo>
                    <a:pt x="3116" y="1665"/>
                    <a:pt x="3121" y="1688"/>
                    <a:pt x="3121" y="1800"/>
                  </a:cubicBezTo>
                  <a:cubicBezTo>
                    <a:pt x="3121" y="1948"/>
                    <a:pt x="3097" y="2012"/>
                    <a:pt x="3005" y="2104"/>
                  </a:cubicBezTo>
                  <a:cubicBezTo>
                    <a:pt x="2903" y="2208"/>
                    <a:pt x="2730" y="2263"/>
                    <a:pt x="2608" y="2231"/>
                  </a:cubicBezTo>
                  <a:cubicBezTo>
                    <a:pt x="2567" y="2220"/>
                    <a:pt x="2554" y="2224"/>
                    <a:pt x="2488" y="2269"/>
                  </a:cubicBezTo>
                  <a:cubicBezTo>
                    <a:pt x="2364" y="2353"/>
                    <a:pt x="2221" y="2377"/>
                    <a:pt x="2074" y="2339"/>
                  </a:cubicBezTo>
                  <a:close/>
                  <a:moveTo>
                    <a:pt x="2374" y="2203"/>
                  </a:moveTo>
                  <a:cubicBezTo>
                    <a:pt x="2614" y="2079"/>
                    <a:pt x="2658" y="1760"/>
                    <a:pt x="2459" y="1581"/>
                  </a:cubicBezTo>
                  <a:cubicBezTo>
                    <a:pt x="2309" y="1446"/>
                    <a:pt x="2106" y="1446"/>
                    <a:pt x="1956" y="1581"/>
                  </a:cubicBezTo>
                  <a:cubicBezTo>
                    <a:pt x="1736" y="1778"/>
                    <a:pt x="1816" y="2135"/>
                    <a:pt x="2101" y="2228"/>
                  </a:cubicBezTo>
                  <a:cubicBezTo>
                    <a:pt x="2160" y="2248"/>
                    <a:pt x="2316" y="2233"/>
                    <a:pt x="2374" y="2203"/>
                  </a:cubicBezTo>
                  <a:close/>
                  <a:moveTo>
                    <a:pt x="1781" y="2110"/>
                  </a:moveTo>
                  <a:cubicBezTo>
                    <a:pt x="1781" y="2104"/>
                    <a:pt x="1768" y="2067"/>
                    <a:pt x="1753" y="2027"/>
                  </a:cubicBezTo>
                  <a:cubicBezTo>
                    <a:pt x="1720" y="1942"/>
                    <a:pt x="1714" y="1809"/>
                    <a:pt x="1738" y="1724"/>
                  </a:cubicBezTo>
                  <a:cubicBezTo>
                    <a:pt x="1747" y="1694"/>
                    <a:pt x="1778" y="1634"/>
                    <a:pt x="1807" y="1591"/>
                  </a:cubicBezTo>
                  <a:cubicBezTo>
                    <a:pt x="1867" y="1501"/>
                    <a:pt x="1864" y="1495"/>
                    <a:pt x="1742" y="1484"/>
                  </a:cubicBezTo>
                  <a:cubicBezTo>
                    <a:pt x="1499" y="1462"/>
                    <a:pt x="1321" y="1727"/>
                    <a:pt x="1433" y="1944"/>
                  </a:cubicBezTo>
                  <a:cubicBezTo>
                    <a:pt x="1470" y="2015"/>
                    <a:pt x="1542" y="2079"/>
                    <a:pt x="1609" y="2100"/>
                  </a:cubicBezTo>
                  <a:cubicBezTo>
                    <a:pt x="1672" y="2120"/>
                    <a:pt x="1781" y="2126"/>
                    <a:pt x="1781" y="2110"/>
                  </a:cubicBezTo>
                  <a:close/>
                  <a:moveTo>
                    <a:pt x="2818" y="2099"/>
                  </a:moveTo>
                  <a:cubicBezTo>
                    <a:pt x="2916" y="2058"/>
                    <a:pt x="2998" y="1952"/>
                    <a:pt x="3015" y="1843"/>
                  </a:cubicBezTo>
                  <a:cubicBezTo>
                    <a:pt x="3027" y="1771"/>
                    <a:pt x="2992" y="1659"/>
                    <a:pt x="2939" y="1595"/>
                  </a:cubicBezTo>
                  <a:cubicBezTo>
                    <a:pt x="2858" y="1497"/>
                    <a:pt x="2707" y="1455"/>
                    <a:pt x="2600" y="1499"/>
                  </a:cubicBezTo>
                  <a:lnTo>
                    <a:pt x="2553" y="1519"/>
                  </a:lnTo>
                  <a:lnTo>
                    <a:pt x="2600" y="1584"/>
                  </a:lnTo>
                  <a:cubicBezTo>
                    <a:pt x="2667" y="1678"/>
                    <a:pt x="2691" y="1750"/>
                    <a:pt x="2691" y="1868"/>
                  </a:cubicBezTo>
                  <a:cubicBezTo>
                    <a:pt x="2691" y="1949"/>
                    <a:pt x="2684" y="1985"/>
                    <a:pt x="2657" y="2045"/>
                  </a:cubicBezTo>
                  <a:lnTo>
                    <a:pt x="2622" y="2120"/>
                  </a:lnTo>
                  <a:lnTo>
                    <a:pt x="2695" y="2120"/>
                  </a:lnTo>
                  <a:cubicBezTo>
                    <a:pt x="2735" y="2120"/>
                    <a:pt x="2791" y="2111"/>
                    <a:pt x="2818" y="2099"/>
                  </a:cubicBezTo>
                  <a:close/>
                  <a:moveTo>
                    <a:pt x="3940" y="1622"/>
                  </a:moveTo>
                  <a:cubicBezTo>
                    <a:pt x="3784" y="1540"/>
                    <a:pt x="3735" y="1339"/>
                    <a:pt x="3836" y="1198"/>
                  </a:cubicBezTo>
                  <a:lnTo>
                    <a:pt x="3863" y="1160"/>
                  </a:lnTo>
                  <a:lnTo>
                    <a:pt x="3816" y="1096"/>
                  </a:lnTo>
                  <a:cubicBezTo>
                    <a:pt x="3748" y="1003"/>
                    <a:pt x="3550" y="816"/>
                    <a:pt x="3421" y="721"/>
                  </a:cubicBezTo>
                  <a:cubicBezTo>
                    <a:pt x="3278" y="616"/>
                    <a:pt x="3013" y="484"/>
                    <a:pt x="2843" y="433"/>
                  </a:cubicBezTo>
                  <a:lnTo>
                    <a:pt x="2712" y="394"/>
                  </a:lnTo>
                  <a:lnTo>
                    <a:pt x="2721" y="347"/>
                  </a:lnTo>
                  <a:cubicBezTo>
                    <a:pt x="2726" y="321"/>
                    <a:pt x="2734" y="295"/>
                    <a:pt x="2740" y="289"/>
                  </a:cubicBezTo>
                  <a:cubicBezTo>
                    <a:pt x="2754" y="274"/>
                    <a:pt x="2992" y="353"/>
                    <a:pt x="3138" y="421"/>
                  </a:cubicBezTo>
                  <a:cubicBezTo>
                    <a:pt x="3259" y="477"/>
                    <a:pt x="3467" y="607"/>
                    <a:pt x="3574" y="692"/>
                  </a:cubicBezTo>
                  <a:cubicBezTo>
                    <a:pt x="3654" y="756"/>
                    <a:pt x="3856" y="958"/>
                    <a:pt x="3910" y="1028"/>
                  </a:cubicBezTo>
                  <a:lnTo>
                    <a:pt x="3957" y="1090"/>
                  </a:lnTo>
                  <a:lnTo>
                    <a:pt x="4039" y="1083"/>
                  </a:lnTo>
                  <a:cubicBezTo>
                    <a:pt x="4253" y="1066"/>
                    <a:pt x="4398" y="1247"/>
                    <a:pt x="4340" y="1457"/>
                  </a:cubicBezTo>
                  <a:cubicBezTo>
                    <a:pt x="4296" y="1617"/>
                    <a:pt x="4090" y="1702"/>
                    <a:pt x="3940" y="1622"/>
                  </a:cubicBezTo>
                  <a:close/>
                  <a:moveTo>
                    <a:pt x="4148" y="1512"/>
                  </a:moveTo>
                  <a:cubicBezTo>
                    <a:pt x="4205" y="1485"/>
                    <a:pt x="4254" y="1392"/>
                    <a:pt x="4241" y="1334"/>
                  </a:cubicBezTo>
                  <a:cubicBezTo>
                    <a:pt x="4220" y="1238"/>
                    <a:pt x="4125" y="1176"/>
                    <a:pt x="4036" y="1199"/>
                  </a:cubicBezTo>
                  <a:cubicBezTo>
                    <a:pt x="3882" y="1241"/>
                    <a:pt x="3856" y="1452"/>
                    <a:pt x="3998" y="1513"/>
                  </a:cubicBezTo>
                  <a:cubicBezTo>
                    <a:pt x="4055" y="1538"/>
                    <a:pt x="4094" y="1538"/>
                    <a:pt x="4148" y="1512"/>
                  </a:cubicBezTo>
                  <a:close/>
                  <a:moveTo>
                    <a:pt x="675" y="914"/>
                  </a:moveTo>
                  <a:cubicBezTo>
                    <a:pt x="658" y="896"/>
                    <a:pt x="647" y="873"/>
                    <a:pt x="651" y="863"/>
                  </a:cubicBezTo>
                  <a:cubicBezTo>
                    <a:pt x="662" y="835"/>
                    <a:pt x="869" y="664"/>
                    <a:pt x="994" y="580"/>
                  </a:cubicBezTo>
                  <a:cubicBezTo>
                    <a:pt x="1224" y="426"/>
                    <a:pt x="1533" y="301"/>
                    <a:pt x="1796" y="256"/>
                  </a:cubicBezTo>
                  <a:cubicBezTo>
                    <a:pt x="1924" y="234"/>
                    <a:pt x="1926" y="234"/>
                    <a:pt x="1933" y="193"/>
                  </a:cubicBezTo>
                  <a:cubicBezTo>
                    <a:pt x="1944" y="137"/>
                    <a:pt x="1998" y="66"/>
                    <a:pt x="2058" y="30"/>
                  </a:cubicBezTo>
                  <a:cubicBezTo>
                    <a:pt x="2098" y="6"/>
                    <a:pt x="2127" y="0"/>
                    <a:pt x="2215" y="0"/>
                  </a:cubicBezTo>
                  <a:cubicBezTo>
                    <a:pt x="2314" y="0"/>
                    <a:pt x="2328" y="3"/>
                    <a:pt x="2378" y="40"/>
                  </a:cubicBezTo>
                  <a:cubicBezTo>
                    <a:pt x="2453" y="94"/>
                    <a:pt x="2492" y="172"/>
                    <a:pt x="2493" y="273"/>
                  </a:cubicBezTo>
                  <a:cubicBezTo>
                    <a:pt x="2497" y="535"/>
                    <a:pt x="2170" y="660"/>
                    <a:pt x="2000" y="463"/>
                  </a:cubicBezTo>
                  <a:cubicBezTo>
                    <a:pt x="1974" y="432"/>
                    <a:pt x="1950" y="394"/>
                    <a:pt x="1945" y="377"/>
                  </a:cubicBezTo>
                  <a:cubicBezTo>
                    <a:pt x="1941" y="360"/>
                    <a:pt x="1935" y="347"/>
                    <a:pt x="1931" y="347"/>
                  </a:cubicBezTo>
                  <a:cubicBezTo>
                    <a:pt x="1928" y="347"/>
                    <a:pt x="1866" y="359"/>
                    <a:pt x="1794" y="373"/>
                  </a:cubicBezTo>
                  <a:cubicBezTo>
                    <a:pt x="1550" y="423"/>
                    <a:pt x="1289" y="529"/>
                    <a:pt x="1081" y="663"/>
                  </a:cubicBezTo>
                  <a:cubicBezTo>
                    <a:pt x="981" y="728"/>
                    <a:pt x="821" y="855"/>
                    <a:pt x="768" y="912"/>
                  </a:cubicBezTo>
                  <a:cubicBezTo>
                    <a:pt x="728" y="955"/>
                    <a:pt x="714" y="955"/>
                    <a:pt x="675" y="914"/>
                  </a:cubicBezTo>
                  <a:close/>
                  <a:moveTo>
                    <a:pt x="2287" y="426"/>
                  </a:moveTo>
                  <a:cubicBezTo>
                    <a:pt x="2298" y="420"/>
                    <a:pt x="2322" y="400"/>
                    <a:pt x="2341" y="380"/>
                  </a:cubicBezTo>
                  <a:cubicBezTo>
                    <a:pt x="2368" y="351"/>
                    <a:pt x="2374" y="331"/>
                    <a:pt x="2374" y="273"/>
                  </a:cubicBezTo>
                  <a:cubicBezTo>
                    <a:pt x="2374" y="212"/>
                    <a:pt x="2368" y="196"/>
                    <a:pt x="2335" y="161"/>
                  </a:cubicBezTo>
                  <a:cubicBezTo>
                    <a:pt x="2275" y="98"/>
                    <a:pt x="2212" y="84"/>
                    <a:pt x="2138" y="117"/>
                  </a:cubicBezTo>
                  <a:cubicBezTo>
                    <a:pt x="2095" y="136"/>
                    <a:pt x="2072" y="156"/>
                    <a:pt x="2055" y="193"/>
                  </a:cubicBezTo>
                  <a:cubicBezTo>
                    <a:pt x="1983" y="345"/>
                    <a:pt x="2140" y="502"/>
                    <a:pt x="2287" y="426"/>
                  </a:cubicBez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51430" tIns="25715" rIns="51430" bIns="25715" numCol="1" anchor="t" anchorCtr="0" compatLnSpc="1">
              <a:prstTxWarp prst="textNoShape">
                <a:avLst/>
              </a:prstTxWarp>
            </a:bodyPr>
            <a:lstStyle/>
            <a:p>
              <a:endParaRPr lang="en-US" sz="900"/>
            </a:p>
          </p:txBody>
        </p:sp>
        <p:sp>
          <p:nvSpPr>
            <p:cNvPr id="26" name="TextBox 25"/>
            <p:cNvSpPr txBox="1">
              <a:spLocks/>
            </p:cNvSpPr>
            <p:nvPr/>
          </p:nvSpPr>
          <p:spPr bwMode="gray">
            <a:xfrm>
              <a:off x="5599934" y="2378883"/>
              <a:ext cx="1075109" cy="353768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defPPr>
                <a:defRPr lang="en-US"/>
              </a:defPPr>
              <a:lvl1pPr marL="0" lvl="0" indent="0" algn="r" defTabSz="1193860" eaLnBrk="1" hangingPunct="1">
                <a:lnSpc>
                  <a:spcPct val="90000"/>
                </a:lnSpc>
                <a:buClr>
                  <a:schemeClr val="tx2"/>
                </a:buClr>
                <a:defRPr sz="5000" baseline="0">
                  <a:solidFill>
                    <a:srgbClr val="FFFFFF"/>
                  </a:solidFill>
                  <a:latin typeface="Calibri" panose="020F0502020204030204" pitchFamily="34" charset="0"/>
                </a:defRPr>
              </a:lvl1pPr>
              <a:lvl2pPr marL="258246" lvl="1" indent="-256130" defTabSz="119386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609630" lvl="2" indent="-349268" defTabSz="119386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819192" lvl="3" indent="-207444" defTabSz="119386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999794" lvl="4" indent="-173575" defTabSz="119386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algn="l"/>
              <a:r>
                <a:rPr lang="en-US" sz="3500" dirty="0">
                  <a:solidFill>
                    <a:schemeClr val="tx2"/>
                  </a:solidFill>
                </a:rPr>
                <a:t>11,000+</a:t>
              </a:r>
            </a:p>
          </p:txBody>
        </p:sp>
        <p:sp>
          <p:nvSpPr>
            <p:cNvPr id="27" name="Title 3"/>
            <p:cNvSpPr txBox="1">
              <a:spLocks/>
            </p:cNvSpPr>
            <p:nvPr/>
          </p:nvSpPr>
          <p:spPr bwMode="gray">
            <a:xfrm>
              <a:off x="5562671" y="2761520"/>
              <a:ext cx="1127753" cy="336922"/>
            </a:xfrm>
            <a:prstGeom prst="rect">
              <a:avLst/>
            </a:prstGeom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rtlCol="0">
              <a:spAutoFit/>
            </a:bodyPr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800" baseline="0"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algn="ctr"/>
              <a:r>
                <a:rPr lang="en-US" sz="1500" dirty="0"/>
                <a:t>challenges played</a:t>
              </a:r>
              <a:br>
                <a:rPr lang="en-US" sz="1500" dirty="0"/>
              </a:br>
              <a:r>
                <a:rPr lang="en-US" sz="1500" dirty="0"/>
                <a:t>till date</a:t>
              </a:r>
            </a:p>
          </p:txBody>
        </p:sp>
        <p:sp>
          <p:nvSpPr>
            <p:cNvPr id="33" name="Freeform 15"/>
            <p:cNvSpPr>
              <a:spLocks noEditPoints="1"/>
            </p:cNvSpPr>
            <p:nvPr/>
          </p:nvSpPr>
          <p:spPr bwMode="gray">
            <a:xfrm>
              <a:off x="8796633" y="1702038"/>
              <a:ext cx="692146" cy="621552"/>
            </a:xfrm>
            <a:custGeom>
              <a:avLst/>
              <a:gdLst>
                <a:gd name="T0" fmla="*/ 339 w 4494"/>
                <a:gd name="T1" fmla="*/ 3522 h 4033"/>
                <a:gd name="T2" fmla="*/ 309 w 4494"/>
                <a:gd name="T3" fmla="*/ 3328 h 4033"/>
                <a:gd name="T4" fmla="*/ 43 w 4494"/>
                <a:gd name="T5" fmla="*/ 2220 h 4033"/>
                <a:gd name="T6" fmla="*/ 2575 w 4494"/>
                <a:gd name="T7" fmla="*/ 2242 h 4033"/>
                <a:gd name="T8" fmla="*/ 2046 w 4494"/>
                <a:gd name="T9" fmla="*/ 3551 h 4033"/>
                <a:gd name="T10" fmla="*/ 833 w 4494"/>
                <a:gd name="T11" fmla="*/ 3698 h 4033"/>
                <a:gd name="T12" fmla="*/ 224 w 4494"/>
                <a:gd name="T13" fmla="*/ 4033 h 4033"/>
                <a:gd name="T14" fmla="*/ 509 w 4494"/>
                <a:gd name="T15" fmla="*/ 3802 h 4033"/>
                <a:gd name="T16" fmla="*/ 808 w 4494"/>
                <a:gd name="T17" fmla="*/ 3562 h 4033"/>
                <a:gd name="T18" fmla="*/ 1702 w 4494"/>
                <a:gd name="T19" fmla="*/ 3594 h 4033"/>
                <a:gd name="T20" fmla="*/ 1598 w 4494"/>
                <a:gd name="T21" fmla="*/ 1412 h 4033"/>
                <a:gd name="T22" fmla="*/ 783 w 4494"/>
                <a:gd name="T23" fmla="*/ 1492 h 4033"/>
                <a:gd name="T24" fmla="*/ 145 w 4494"/>
                <a:gd name="T25" fmla="*/ 2280 h 4033"/>
                <a:gd name="T26" fmla="*/ 177 w 4494"/>
                <a:gd name="T27" fmla="*/ 2859 h 4033"/>
                <a:gd name="T28" fmla="*/ 462 w 4494"/>
                <a:gd name="T29" fmla="*/ 3329 h 4033"/>
                <a:gd name="T30" fmla="*/ 397 w 4494"/>
                <a:gd name="T31" fmla="*/ 3838 h 4033"/>
                <a:gd name="T32" fmla="*/ 1210 w 4494"/>
                <a:gd name="T33" fmla="*/ 3076 h 4033"/>
                <a:gd name="T34" fmla="*/ 1352 w 4494"/>
                <a:gd name="T35" fmla="*/ 2966 h 4033"/>
                <a:gd name="T36" fmla="*/ 1210 w 4494"/>
                <a:gd name="T37" fmla="*/ 3076 h 4033"/>
                <a:gd name="T38" fmla="*/ 1314 w 4494"/>
                <a:gd name="T39" fmla="*/ 2472 h 4033"/>
                <a:gd name="T40" fmla="*/ 1413 w 4494"/>
                <a:gd name="T41" fmla="*/ 2145 h 4033"/>
                <a:gd name="T42" fmla="*/ 1081 w 4494"/>
                <a:gd name="T43" fmla="*/ 2169 h 4033"/>
                <a:gd name="T44" fmla="*/ 991 w 4494"/>
                <a:gd name="T45" fmla="*/ 2106 h 4033"/>
                <a:gd name="T46" fmla="*/ 1306 w 4494"/>
                <a:gd name="T47" fmla="*/ 1979 h 4033"/>
                <a:gd name="T48" fmla="*/ 1603 w 4494"/>
                <a:gd name="T49" fmla="*/ 2240 h 4033"/>
                <a:gd name="T50" fmla="*/ 1442 w 4494"/>
                <a:gd name="T51" fmla="*/ 2536 h 4033"/>
                <a:gd name="T52" fmla="*/ 1271 w 4494"/>
                <a:gd name="T53" fmla="*/ 2673 h 4033"/>
                <a:gd name="T54" fmla="*/ 4014 w 4494"/>
                <a:gd name="T55" fmla="*/ 3053 h 4033"/>
                <a:gd name="T56" fmla="*/ 3547 w 4494"/>
                <a:gd name="T57" fmla="*/ 2756 h 4033"/>
                <a:gd name="T58" fmla="*/ 3048 w 4494"/>
                <a:gd name="T59" fmla="*/ 2817 h 4033"/>
                <a:gd name="T60" fmla="*/ 3473 w 4494"/>
                <a:gd name="T61" fmla="*/ 2665 h 4033"/>
                <a:gd name="T62" fmla="*/ 3643 w 4494"/>
                <a:gd name="T63" fmla="*/ 2689 h 4033"/>
                <a:gd name="T64" fmla="*/ 4099 w 4494"/>
                <a:gd name="T65" fmla="*/ 2960 h 4033"/>
                <a:gd name="T66" fmla="*/ 3993 w 4494"/>
                <a:gd name="T67" fmla="*/ 2505 h 4033"/>
                <a:gd name="T68" fmla="*/ 4037 w 4494"/>
                <a:gd name="T69" fmla="*/ 2294 h 4033"/>
                <a:gd name="T70" fmla="*/ 3641 w 4494"/>
                <a:gd name="T71" fmla="*/ 459 h 4033"/>
                <a:gd name="T72" fmla="*/ 2532 w 4494"/>
                <a:gd name="T73" fmla="*/ 458 h 4033"/>
                <a:gd name="T74" fmla="*/ 1915 w 4494"/>
                <a:gd name="T75" fmla="*/ 963 h 4033"/>
                <a:gd name="T76" fmla="*/ 2325 w 4494"/>
                <a:gd name="T77" fmla="*/ 449 h 4033"/>
                <a:gd name="T78" fmla="*/ 4433 w 4494"/>
                <a:gd name="T79" fmla="*/ 1526 h 4033"/>
                <a:gd name="T80" fmla="*/ 4095 w 4494"/>
                <a:gd name="T81" fmla="*/ 2410 h 4033"/>
                <a:gd name="T82" fmla="*/ 4279 w 4494"/>
                <a:gd name="T83" fmla="*/ 3031 h 4033"/>
                <a:gd name="T84" fmla="*/ 4217 w 4494"/>
                <a:gd name="T85" fmla="*/ 3086 h 4033"/>
                <a:gd name="T86" fmla="*/ 3545 w 4494"/>
                <a:gd name="T87" fmla="*/ 1604 h 4033"/>
                <a:gd name="T88" fmla="*/ 3705 w 4494"/>
                <a:gd name="T89" fmla="*/ 1484 h 4033"/>
                <a:gd name="T90" fmla="*/ 2718 w 4494"/>
                <a:gd name="T91" fmla="*/ 1573 h 4033"/>
                <a:gd name="T92" fmla="*/ 2805 w 4494"/>
                <a:gd name="T93" fmla="*/ 1366 h 4033"/>
                <a:gd name="T94" fmla="*/ 2805 w 4494"/>
                <a:gd name="T95" fmla="*/ 1606 h 4033"/>
                <a:gd name="T96" fmla="*/ 3105 w 4494"/>
                <a:gd name="T97" fmla="*/ 1573 h 4033"/>
                <a:gd name="T98" fmla="*/ 3306 w 4494"/>
                <a:gd name="T99" fmla="*/ 1434 h 4033"/>
                <a:gd name="T100" fmla="*/ 3105 w 4494"/>
                <a:gd name="T101" fmla="*/ 1573 h 40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494" h="4033">
                  <a:moveTo>
                    <a:pt x="196" y="4009"/>
                  </a:moveTo>
                  <a:cubicBezTo>
                    <a:pt x="258" y="3941"/>
                    <a:pt x="315" y="3744"/>
                    <a:pt x="339" y="3522"/>
                  </a:cubicBezTo>
                  <a:lnTo>
                    <a:pt x="354" y="3379"/>
                  </a:lnTo>
                  <a:lnTo>
                    <a:pt x="309" y="3328"/>
                  </a:lnTo>
                  <a:cubicBezTo>
                    <a:pt x="198" y="3205"/>
                    <a:pt x="92" y="3006"/>
                    <a:pt x="43" y="2826"/>
                  </a:cubicBezTo>
                  <a:cubicBezTo>
                    <a:pt x="0" y="2669"/>
                    <a:pt x="0" y="2378"/>
                    <a:pt x="43" y="2220"/>
                  </a:cubicBezTo>
                  <a:cubicBezTo>
                    <a:pt x="249" y="1459"/>
                    <a:pt x="1066" y="1067"/>
                    <a:pt x="1817" y="1367"/>
                  </a:cubicBezTo>
                  <a:cubicBezTo>
                    <a:pt x="2183" y="1513"/>
                    <a:pt x="2478" y="1854"/>
                    <a:pt x="2575" y="2242"/>
                  </a:cubicBezTo>
                  <a:cubicBezTo>
                    <a:pt x="2609" y="2378"/>
                    <a:pt x="2605" y="2685"/>
                    <a:pt x="2568" y="2822"/>
                  </a:cubicBezTo>
                  <a:cubicBezTo>
                    <a:pt x="2487" y="3119"/>
                    <a:pt x="2298" y="3382"/>
                    <a:pt x="2046" y="3551"/>
                  </a:cubicBezTo>
                  <a:cubicBezTo>
                    <a:pt x="1725" y="3766"/>
                    <a:pt x="1350" y="3829"/>
                    <a:pt x="967" y="3732"/>
                  </a:cubicBezTo>
                  <a:lnTo>
                    <a:pt x="833" y="3698"/>
                  </a:lnTo>
                  <a:lnTo>
                    <a:pt x="727" y="3784"/>
                  </a:lnTo>
                  <a:cubicBezTo>
                    <a:pt x="541" y="3935"/>
                    <a:pt x="344" y="4033"/>
                    <a:pt x="224" y="4033"/>
                  </a:cubicBezTo>
                  <a:cubicBezTo>
                    <a:pt x="177" y="4033"/>
                    <a:pt x="176" y="4031"/>
                    <a:pt x="196" y="4009"/>
                  </a:cubicBezTo>
                  <a:close/>
                  <a:moveTo>
                    <a:pt x="509" y="3802"/>
                  </a:moveTo>
                  <a:cubicBezTo>
                    <a:pt x="548" y="3779"/>
                    <a:pt x="631" y="3716"/>
                    <a:pt x="694" y="3661"/>
                  </a:cubicBezTo>
                  <a:lnTo>
                    <a:pt x="808" y="3562"/>
                  </a:lnTo>
                  <a:lnTo>
                    <a:pt x="890" y="3591"/>
                  </a:lnTo>
                  <a:cubicBezTo>
                    <a:pt x="1150" y="3682"/>
                    <a:pt x="1445" y="3683"/>
                    <a:pt x="1702" y="3594"/>
                  </a:cubicBezTo>
                  <a:cubicBezTo>
                    <a:pt x="2194" y="3423"/>
                    <a:pt x="2513" y="2954"/>
                    <a:pt x="2481" y="2449"/>
                  </a:cubicBezTo>
                  <a:cubicBezTo>
                    <a:pt x="2450" y="1953"/>
                    <a:pt x="2099" y="1541"/>
                    <a:pt x="1598" y="1412"/>
                  </a:cubicBezTo>
                  <a:cubicBezTo>
                    <a:pt x="1477" y="1380"/>
                    <a:pt x="1448" y="1378"/>
                    <a:pt x="1265" y="1384"/>
                  </a:cubicBezTo>
                  <a:cubicBezTo>
                    <a:pt x="1044" y="1390"/>
                    <a:pt x="954" y="1411"/>
                    <a:pt x="783" y="1492"/>
                  </a:cubicBezTo>
                  <a:cubicBezTo>
                    <a:pt x="645" y="1557"/>
                    <a:pt x="546" y="1629"/>
                    <a:pt x="437" y="1741"/>
                  </a:cubicBezTo>
                  <a:cubicBezTo>
                    <a:pt x="281" y="1903"/>
                    <a:pt x="192" y="2067"/>
                    <a:pt x="145" y="2280"/>
                  </a:cubicBezTo>
                  <a:cubicBezTo>
                    <a:pt x="127" y="2359"/>
                    <a:pt x="123" y="2423"/>
                    <a:pt x="128" y="2558"/>
                  </a:cubicBezTo>
                  <a:cubicBezTo>
                    <a:pt x="134" y="2709"/>
                    <a:pt x="140" y="2750"/>
                    <a:pt x="177" y="2859"/>
                  </a:cubicBezTo>
                  <a:cubicBezTo>
                    <a:pt x="226" y="3004"/>
                    <a:pt x="297" y="3130"/>
                    <a:pt x="394" y="3248"/>
                  </a:cubicBezTo>
                  <a:lnTo>
                    <a:pt x="462" y="3329"/>
                  </a:lnTo>
                  <a:lnTo>
                    <a:pt x="455" y="3478"/>
                  </a:lnTo>
                  <a:cubicBezTo>
                    <a:pt x="448" y="3612"/>
                    <a:pt x="423" y="3771"/>
                    <a:pt x="397" y="3838"/>
                  </a:cubicBezTo>
                  <a:cubicBezTo>
                    <a:pt x="385" y="3871"/>
                    <a:pt x="408" y="3863"/>
                    <a:pt x="509" y="3802"/>
                  </a:cubicBezTo>
                  <a:close/>
                  <a:moveTo>
                    <a:pt x="1210" y="3076"/>
                  </a:moveTo>
                  <a:cubicBezTo>
                    <a:pt x="1181" y="3058"/>
                    <a:pt x="1165" y="2995"/>
                    <a:pt x="1179" y="2959"/>
                  </a:cubicBezTo>
                  <a:cubicBezTo>
                    <a:pt x="1208" y="2883"/>
                    <a:pt x="1320" y="2888"/>
                    <a:pt x="1352" y="2966"/>
                  </a:cubicBezTo>
                  <a:cubicBezTo>
                    <a:pt x="1368" y="3005"/>
                    <a:pt x="1354" y="3053"/>
                    <a:pt x="1320" y="3076"/>
                  </a:cubicBezTo>
                  <a:cubicBezTo>
                    <a:pt x="1301" y="3089"/>
                    <a:pt x="1230" y="3088"/>
                    <a:pt x="1210" y="3076"/>
                  </a:cubicBezTo>
                  <a:close/>
                  <a:moveTo>
                    <a:pt x="1214" y="2624"/>
                  </a:moveTo>
                  <a:cubicBezTo>
                    <a:pt x="1204" y="2559"/>
                    <a:pt x="1214" y="2544"/>
                    <a:pt x="1314" y="2472"/>
                  </a:cubicBezTo>
                  <a:cubicBezTo>
                    <a:pt x="1424" y="2392"/>
                    <a:pt x="1459" y="2341"/>
                    <a:pt x="1459" y="2256"/>
                  </a:cubicBezTo>
                  <a:cubicBezTo>
                    <a:pt x="1459" y="2199"/>
                    <a:pt x="1453" y="2184"/>
                    <a:pt x="1413" y="2145"/>
                  </a:cubicBezTo>
                  <a:cubicBezTo>
                    <a:pt x="1372" y="2103"/>
                    <a:pt x="1361" y="2099"/>
                    <a:pt x="1290" y="2100"/>
                  </a:cubicBezTo>
                  <a:cubicBezTo>
                    <a:pt x="1216" y="2100"/>
                    <a:pt x="1147" y="2123"/>
                    <a:pt x="1081" y="2169"/>
                  </a:cubicBezTo>
                  <a:cubicBezTo>
                    <a:pt x="1060" y="2184"/>
                    <a:pt x="1052" y="2181"/>
                    <a:pt x="1024" y="2146"/>
                  </a:cubicBezTo>
                  <a:lnTo>
                    <a:pt x="991" y="2106"/>
                  </a:lnTo>
                  <a:lnTo>
                    <a:pt x="1037" y="2066"/>
                  </a:lnTo>
                  <a:cubicBezTo>
                    <a:pt x="1101" y="2009"/>
                    <a:pt x="1194" y="1979"/>
                    <a:pt x="1306" y="1979"/>
                  </a:cubicBezTo>
                  <a:cubicBezTo>
                    <a:pt x="1419" y="1979"/>
                    <a:pt x="1497" y="2014"/>
                    <a:pt x="1558" y="2090"/>
                  </a:cubicBezTo>
                  <a:cubicBezTo>
                    <a:pt x="1593" y="2135"/>
                    <a:pt x="1599" y="2154"/>
                    <a:pt x="1603" y="2240"/>
                  </a:cubicBezTo>
                  <a:cubicBezTo>
                    <a:pt x="1608" y="2327"/>
                    <a:pt x="1604" y="2346"/>
                    <a:pt x="1573" y="2398"/>
                  </a:cubicBezTo>
                  <a:cubicBezTo>
                    <a:pt x="1554" y="2431"/>
                    <a:pt x="1495" y="2493"/>
                    <a:pt x="1442" y="2536"/>
                  </a:cubicBezTo>
                  <a:cubicBezTo>
                    <a:pt x="1389" y="2578"/>
                    <a:pt x="1339" y="2627"/>
                    <a:pt x="1332" y="2643"/>
                  </a:cubicBezTo>
                  <a:cubicBezTo>
                    <a:pt x="1322" y="2666"/>
                    <a:pt x="1308" y="2673"/>
                    <a:pt x="1271" y="2673"/>
                  </a:cubicBezTo>
                  <a:cubicBezTo>
                    <a:pt x="1225" y="2673"/>
                    <a:pt x="1222" y="2670"/>
                    <a:pt x="1214" y="2624"/>
                  </a:cubicBezTo>
                  <a:close/>
                  <a:moveTo>
                    <a:pt x="4014" y="3053"/>
                  </a:moveTo>
                  <a:cubicBezTo>
                    <a:pt x="3902" y="3014"/>
                    <a:pt x="3776" y="2939"/>
                    <a:pt x="3646" y="2835"/>
                  </a:cubicBezTo>
                  <a:lnTo>
                    <a:pt x="3547" y="2756"/>
                  </a:lnTo>
                  <a:lnTo>
                    <a:pt x="3493" y="2775"/>
                  </a:lnTo>
                  <a:cubicBezTo>
                    <a:pt x="3356" y="2823"/>
                    <a:pt x="3080" y="2849"/>
                    <a:pt x="3048" y="2817"/>
                  </a:cubicBezTo>
                  <a:cubicBezTo>
                    <a:pt x="3005" y="2774"/>
                    <a:pt x="3051" y="2726"/>
                    <a:pt x="3136" y="2726"/>
                  </a:cubicBezTo>
                  <a:cubicBezTo>
                    <a:pt x="3227" y="2726"/>
                    <a:pt x="3352" y="2703"/>
                    <a:pt x="3473" y="2665"/>
                  </a:cubicBezTo>
                  <a:lnTo>
                    <a:pt x="3581" y="2631"/>
                  </a:lnTo>
                  <a:lnTo>
                    <a:pt x="3643" y="2689"/>
                  </a:lnTo>
                  <a:cubicBezTo>
                    <a:pt x="3736" y="2776"/>
                    <a:pt x="3842" y="2852"/>
                    <a:pt x="3936" y="2899"/>
                  </a:cubicBezTo>
                  <a:cubicBezTo>
                    <a:pt x="4014" y="2939"/>
                    <a:pt x="4099" y="2970"/>
                    <a:pt x="4099" y="2960"/>
                  </a:cubicBezTo>
                  <a:cubicBezTo>
                    <a:pt x="4099" y="2957"/>
                    <a:pt x="4087" y="2929"/>
                    <a:pt x="4074" y="2897"/>
                  </a:cubicBezTo>
                  <a:cubicBezTo>
                    <a:pt x="4037" y="2810"/>
                    <a:pt x="4007" y="2667"/>
                    <a:pt x="3993" y="2505"/>
                  </a:cubicBezTo>
                  <a:lnTo>
                    <a:pt x="3981" y="2361"/>
                  </a:lnTo>
                  <a:lnTo>
                    <a:pt x="4037" y="2294"/>
                  </a:lnTo>
                  <a:cubicBezTo>
                    <a:pt x="4116" y="2200"/>
                    <a:pt x="4143" y="2159"/>
                    <a:pt x="4197" y="2051"/>
                  </a:cubicBezTo>
                  <a:cubicBezTo>
                    <a:pt x="4494" y="1459"/>
                    <a:pt x="4248" y="755"/>
                    <a:pt x="3641" y="459"/>
                  </a:cubicBezTo>
                  <a:cubicBezTo>
                    <a:pt x="3444" y="364"/>
                    <a:pt x="3310" y="334"/>
                    <a:pt x="3079" y="334"/>
                  </a:cubicBezTo>
                  <a:cubicBezTo>
                    <a:pt x="2854" y="335"/>
                    <a:pt x="2734" y="362"/>
                    <a:pt x="2532" y="458"/>
                  </a:cubicBezTo>
                  <a:cubicBezTo>
                    <a:pt x="2322" y="558"/>
                    <a:pt x="2151" y="709"/>
                    <a:pt x="2027" y="903"/>
                  </a:cubicBezTo>
                  <a:cubicBezTo>
                    <a:pt x="1978" y="979"/>
                    <a:pt x="1947" y="996"/>
                    <a:pt x="1915" y="963"/>
                  </a:cubicBezTo>
                  <a:cubicBezTo>
                    <a:pt x="1887" y="936"/>
                    <a:pt x="1897" y="905"/>
                    <a:pt x="1965" y="803"/>
                  </a:cubicBezTo>
                  <a:cubicBezTo>
                    <a:pt x="2042" y="687"/>
                    <a:pt x="2203" y="529"/>
                    <a:pt x="2325" y="449"/>
                  </a:cubicBezTo>
                  <a:cubicBezTo>
                    <a:pt x="3008" y="0"/>
                    <a:pt x="3936" y="235"/>
                    <a:pt x="4298" y="949"/>
                  </a:cubicBezTo>
                  <a:cubicBezTo>
                    <a:pt x="4392" y="1135"/>
                    <a:pt x="4433" y="1310"/>
                    <a:pt x="4433" y="1526"/>
                  </a:cubicBezTo>
                  <a:cubicBezTo>
                    <a:pt x="4434" y="1831"/>
                    <a:pt x="4345" y="2092"/>
                    <a:pt x="4162" y="2324"/>
                  </a:cubicBezTo>
                  <a:lnTo>
                    <a:pt x="4095" y="2410"/>
                  </a:lnTo>
                  <a:lnTo>
                    <a:pt x="4110" y="2545"/>
                  </a:lnTo>
                  <a:cubicBezTo>
                    <a:pt x="4136" y="2780"/>
                    <a:pt x="4188" y="2931"/>
                    <a:pt x="4279" y="3031"/>
                  </a:cubicBezTo>
                  <a:lnTo>
                    <a:pt x="4328" y="3086"/>
                  </a:lnTo>
                  <a:lnTo>
                    <a:pt x="4217" y="3086"/>
                  </a:lnTo>
                  <a:cubicBezTo>
                    <a:pt x="4134" y="3086"/>
                    <a:pt x="4082" y="3077"/>
                    <a:pt x="4014" y="3053"/>
                  </a:cubicBezTo>
                  <a:close/>
                  <a:moveTo>
                    <a:pt x="3545" y="1604"/>
                  </a:moveTo>
                  <a:cubicBezTo>
                    <a:pt x="3411" y="1568"/>
                    <a:pt x="3441" y="1366"/>
                    <a:pt x="3580" y="1366"/>
                  </a:cubicBezTo>
                  <a:cubicBezTo>
                    <a:pt x="3654" y="1366"/>
                    <a:pt x="3705" y="1413"/>
                    <a:pt x="3705" y="1484"/>
                  </a:cubicBezTo>
                  <a:cubicBezTo>
                    <a:pt x="3705" y="1575"/>
                    <a:pt x="3634" y="1628"/>
                    <a:pt x="3545" y="1604"/>
                  </a:cubicBezTo>
                  <a:close/>
                  <a:moveTo>
                    <a:pt x="2718" y="1573"/>
                  </a:moveTo>
                  <a:cubicBezTo>
                    <a:pt x="2694" y="1549"/>
                    <a:pt x="2685" y="1526"/>
                    <a:pt x="2685" y="1486"/>
                  </a:cubicBezTo>
                  <a:cubicBezTo>
                    <a:pt x="2685" y="1411"/>
                    <a:pt x="2730" y="1366"/>
                    <a:pt x="2805" y="1366"/>
                  </a:cubicBezTo>
                  <a:cubicBezTo>
                    <a:pt x="2880" y="1366"/>
                    <a:pt x="2925" y="1411"/>
                    <a:pt x="2925" y="1486"/>
                  </a:cubicBezTo>
                  <a:cubicBezTo>
                    <a:pt x="2925" y="1561"/>
                    <a:pt x="2880" y="1606"/>
                    <a:pt x="2805" y="1606"/>
                  </a:cubicBezTo>
                  <a:cubicBezTo>
                    <a:pt x="2765" y="1606"/>
                    <a:pt x="2742" y="1597"/>
                    <a:pt x="2718" y="1573"/>
                  </a:cubicBezTo>
                  <a:close/>
                  <a:moveTo>
                    <a:pt x="3105" y="1573"/>
                  </a:moveTo>
                  <a:cubicBezTo>
                    <a:pt x="3030" y="1499"/>
                    <a:pt x="3082" y="1366"/>
                    <a:pt x="3186" y="1366"/>
                  </a:cubicBezTo>
                  <a:cubicBezTo>
                    <a:pt x="3248" y="1366"/>
                    <a:pt x="3280" y="1384"/>
                    <a:pt x="3306" y="1434"/>
                  </a:cubicBezTo>
                  <a:cubicBezTo>
                    <a:pt x="3331" y="1483"/>
                    <a:pt x="3314" y="1554"/>
                    <a:pt x="3268" y="1586"/>
                  </a:cubicBezTo>
                  <a:cubicBezTo>
                    <a:pt x="3223" y="1618"/>
                    <a:pt x="3143" y="1612"/>
                    <a:pt x="3105" y="1573"/>
                  </a:cubicBez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51430" tIns="25715" rIns="51430" bIns="25715" numCol="1" anchor="t" anchorCtr="0" compatLnSpc="1">
              <a:prstTxWarp prst="textNoShape">
                <a:avLst/>
              </a:prstTxWarp>
            </a:bodyPr>
            <a:lstStyle/>
            <a:p>
              <a:endParaRPr lang="en-US" sz="900"/>
            </a:p>
          </p:txBody>
        </p:sp>
        <p:sp>
          <p:nvSpPr>
            <p:cNvPr id="34" name="TextBox 33"/>
            <p:cNvSpPr txBox="1">
              <a:spLocks/>
            </p:cNvSpPr>
            <p:nvPr/>
          </p:nvSpPr>
          <p:spPr bwMode="gray">
            <a:xfrm>
              <a:off x="8626453" y="2381968"/>
              <a:ext cx="1075109" cy="353768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defPPr>
                <a:defRPr lang="en-US"/>
              </a:defPPr>
              <a:lvl1pPr marL="0" lvl="0" indent="0" algn="r" defTabSz="1193860" eaLnBrk="1" hangingPunct="1">
                <a:lnSpc>
                  <a:spcPct val="90000"/>
                </a:lnSpc>
                <a:buClr>
                  <a:schemeClr val="tx2"/>
                </a:buClr>
                <a:defRPr sz="5000" baseline="0">
                  <a:solidFill>
                    <a:srgbClr val="FFFFFF"/>
                  </a:solidFill>
                  <a:latin typeface="Calibri" panose="020F0502020204030204" pitchFamily="34" charset="0"/>
                </a:defRPr>
              </a:lvl1pPr>
              <a:lvl2pPr marL="258246" lvl="1" indent="-256130" defTabSz="119386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609630" lvl="2" indent="-349268" defTabSz="119386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819192" lvl="3" indent="-207444" defTabSz="119386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999794" lvl="4" indent="-173575" defTabSz="119386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algn="ctr"/>
              <a:r>
                <a:rPr lang="en-US" sz="3500" dirty="0">
                  <a:solidFill>
                    <a:schemeClr val="tx2"/>
                  </a:solidFill>
                </a:rPr>
                <a:t>10,400+</a:t>
              </a:r>
            </a:p>
          </p:txBody>
        </p:sp>
        <p:sp>
          <p:nvSpPr>
            <p:cNvPr id="35" name="Title 3"/>
            <p:cNvSpPr txBox="1">
              <a:spLocks/>
            </p:cNvSpPr>
            <p:nvPr/>
          </p:nvSpPr>
          <p:spPr bwMode="gray">
            <a:xfrm>
              <a:off x="8768868" y="2761520"/>
              <a:ext cx="790281" cy="311752"/>
            </a:xfrm>
            <a:prstGeom prst="rect">
              <a:avLst/>
            </a:prstGeom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rtlCol="0">
              <a:spAutoFit/>
            </a:bodyPr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800" baseline="0"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algn="ctr"/>
              <a:r>
                <a:rPr lang="en-US" sz="1013" dirty="0"/>
                <a:t>questions live</a:t>
              </a:r>
              <a:br>
                <a:rPr lang="en-US" sz="1013" dirty="0"/>
              </a:br>
              <a:r>
                <a:rPr lang="en-US" sz="1013" dirty="0"/>
                <a:t>on app</a:t>
              </a:r>
            </a:p>
          </p:txBody>
        </p:sp>
        <p:sp>
          <p:nvSpPr>
            <p:cNvPr id="43" name="TextBox 42"/>
            <p:cNvSpPr txBox="1">
              <a:spLocks/>
            </p:cNvSpPr>
            <p:nvPr/>
          </p:nvSpPr>
          <p:spPr bwMode="gray">
            <a:xfrm>
              <a:off x="7246910" y="3603865"/>
              <a:ext cx="1075109" cy="353768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defPPr>
                <a:defRPr lang="en-US"/>
              </a:defPPr>
              <a:lvl1pPr marL="0" lvl="0" indent="0" algn="r" defTabSz="1193860" eaLnBrk="1" hangingPunct="1">
                <a:lnSpc>
                  <a:spcPct val="90000"/>
                </a:lnSpc>
                <a:buClr>
                  <a:schemeClr val="tx2"/>
                </a:buClr>
                <a:defRPr sz="5000" baseline="0">
                  <a:solidFill>
                    <a:srgbClr val="FFFFFF"/>
                  </a:solidFill>
                  <a:latin typeface="Calibri" panose="020F0502020204030204" pitchFamily="34" charset="0"/>
                </a:defRPr>
              </a:lvl1pPr>
              <a:lvl2pPr marL="258246" lvl="1" indent="-256130" defTabSz="119386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609630" lvl="2" indent="-349268" defTabSz="119386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819192" lvl="3" indent="-207444" defTabSz="119386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999794" lvl="4" indent="-173575" defTabSz="119386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algn="ctr"/>
              <a:r>
                <a:rPr lang="en-US" sz="3500" dirty="0">
                  <a:solidFill>
                    <a:schemeClr val="tx2"/>
                  </a:solidFill>
                </a:rPr>
                <a:t>39,100+</a:t>
              </a:r>
            </a:p>
          </p:txBody>
        </p:sp>
        <p:sp>
          <p:nvSpPr>
            <p:cNvPr id="44" name="Title 3"/>
            <p:cNvSpPr txBox="1">
              <a:spLocks/>
            </p:cNvSpPr>
            <p:nvPr/>
          </p:nvSpPr>
          <p:spPr bwMode="gray">
            <a:xfrm>
              <a:off x="6886735" y="3995622"/>
              <a:ext cx="1719707" cy="168461"/>
            </a:xfrm>
            <a:prstGeom prst="rect">
              <a:avLst/>
            </a:prstGeom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rtlCol="0">
              <a:spAutoFit/>
            </a:bodyPr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800" baseline="0"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algn="ctr"/>
              <a:r>
                <a:rPr lang="en-US" sz="1500" dirty="0"/>
                <a:t>visits to knowledge nuggets</a:t>
              </a:r>
            </a:p>
          </p:txBody>
        </p:sp>
        <p:sp>
          <p:nvSpPr>
            <p:cNvPr id="48" name="Freeform 27"/>
            <p:cNvSpPr>
              <a:spLocks noEditPoints="1"/>
            </p:cNvSpPr>
            <p:nvPr/>
          </p:nvSpPr>
          <p:spPr bwMode="gray">
            <a:xfrm>
              <a:off x="6321022" y="3424414"/>
              <a:ext cx="630462" cy="527223"/>
            </a:xfrm>
            <a:custGeom>
              <a:avLst/>
              <a:gdLst>
                <a:gd name="T0" fmla="*/ 331 w 4526"/>
                <a:gd name="T1" fmla="*/ 2850 h 3789"/>
                <a:gd name="T2" fmla="*/ 1028 w 4526"/>
                <a:gd name="T3" fmla="*/ 2260 h 3789"/>
                <a:gd name="T4" fmla="*/ 652 w 4526"/>
                <a:gd name="T5" fmla="*/ 2485 h 3789"/>
                <a:gd name="T6" fmla="*/ 904 w 4526"/>
                <a:gd name="T7" fmla="*/ 1935 h 3789"/>
                <a:gd name="T8" fmla="*/ 441 w 4526"/>
                <a:gd name="T9" fmla="*/ 2088 h 3789"/>
                <a:gd name="T10" fmla="*/ 613 w 4526"/>
                <a:gd name="T11" fmla="*/ 1764 h 3789"/>
                <a:gd name="T12" fmla="*/ 602 w 4526"/>
                <a:gd name="T13" fmla="*/ 1442 h 3789"/>
                <a:gd name="T14" fmla="*/ 181 w 4526"/>
                <a:gd name="T15" fmla="*/ 1528 h 3789"/>
                <a:gd name="T16" fmla="*/ 451 w 4526"/>
                <a:gd name="T17" fmla="*/ 380 h 3789"/>
                <a:gd name="T18" fmla="*/ 614 w 4526"/>
                <a:gd name="T19" fmla="*/ 2 h 3789"/>
                <a:gd name="T20" fmla="*/ 3874 w 4526"/>
                <a:gd name="T21" fmla="*/ 15 h 3789"/>
                <a:gd name="T22" fmla="*/ 4183 w 4526"/>
                <a:gd name="T23" fmla="*/ 922 h 3789"/>
                <a:gd name="T24" fmla="*/ 4378 w 4526"/>
                <a:gd name="T25" fmla="*/ 1807 h 3789"/>
                <a:gd name="T26" fmla="*/ 4235 w 4526"/>
                <a:gd name="T27" fmla="*/ 1852 h 3789"/>
                <a:gd name="T28" fmla="*/ 3675 w 4526"/>
                <a:gd name="T29" fmla="*/ 1601 h 3789"/>
                <a:gd name="T30" fmla="*/ 4035 w 4526"/>
                <a:gd name="T31" fmla="*/ 2176 h 3789"/>
                <a:gd name="T32" fmla="*/ 3774 w 4526"/>
                <a:gd name="T33" fmla="*/ 2161 h 3789"/>
                <a:gd name="T34" fmla="*/ 3527 w 4526"/>
                <a:gd name="T35" fmla="*/ 2205 h 3789"/>
                <a:gd name="T36" fmla="*/ 4065 w 4526"/>
                <a:gd name="T37" fmla="*/ 2791 h 3789"/>
                <a:gd name="T38" fmla="*/ 1302 w 4526"/>
                <a:gd name="T39" fmla="*/ 3563 h 3789"/>
                <a:gd name="T40" fmla="*/ 1303 w 4526"/>
                <a:gd name="T41" fmla="*/ 774 h 3789"/>
                <a:gd name="T42" fmla="*/ 564 w 4526"/>
                <a:gd name="T43" fmla="*/ 1242 h 3789"/>
                <a:gd name="T44" fmla="*/ 1017 w 4526"/>
                <a:gd name="T45" fmla="*/ 1729 h 3789"/>
                <a:gd name="T46" fmla="*/ 1194 w 4526"/>
                <a:gd name="T47" fmla="*/ 2340 h 3789"/>
                <a:gd name="T48" fmla="*/ 509 w 4526"/>
                <a:gd name="T49" fmla="*/ 2971 h 3789"/>
                <a:gd name="T50" fmla="*/ 2156 w 4526"/>
                <a:gd name="T51" fmla="*/ 2277 h 3789"/>
                <a:gd name="T52" fmla="*/ 1931 w 4526"/>
                <a:gd name="T53" fmla="*/ 3137 h 3789"/>
                <a:gd name="T54" fmla="*/ 1339 w 4526"/>
                <a:gd name="T55" fmla="*/ 3183 h 3789"/>
                <a:gd name="T56" fmla="*/ 1686 w 4526"/>
                <a:gd name="T57" fmla="*/ 2570 h 3789"/>
                <a:gd name="T58" fmla="*/ 1622 w 4526"/>
                <a:gd name="T59" fmla="*/ 2749 h 3789"/>
                <a:gd name="T60" fmla="*/ 1485 w 4526"/>
                <a:gd name="T61" fmla="*/ 2240 h 3789"/>
                <a:gd name="T62" fmla="*/ 1697 w 4526"/>
                <a:gd name="T63" fmla="*/ 2484 h 3789"/>
                <a:gd name="T64" fmla="*/ 1998 w 4526"/>
                <a:gd name="T65" fmla="*/ 2097 h 3789"/>
                <a:gd name="T66" fmla="*/ 3169 w 4526"/>
                <a:gd name="T67" fmla="*/ 3378 h 3789"/>
                <a:gd name="T68" fmla="*/ 3695 w 4526"/>
                <a:gd name="T69" fmla="*/ 2757 h 3789"/>
                <a:gd name="T70" fmla="*/ 3399 w 4526"/>
                <a:gd name="T71" fmla="*/ 1991 h 3789"/>
                <a:gd name="T72" fmla="*/ 3740 w 4526"/>
                <a:gd name="T73" fmla="*/ 1346 h 3789"/>
                <a:gd name="T74" fmla="*/ 3996 w 4526"/>
                <a:gd name="T75" fmla="*/ 916 h 3789"/>
                <a:gd name="T76" fmla="*/ 2342 w 4526"/>
                <a:gd name="T77" fmla="*/ 2278 h 3789"/>
                <a:gd name="T78" fmla="*/ 2474 w 4526"/>
                <a:gd name="T79" fmla="*/ 3157 h 3789"/>
                <a:gd name="T80" fmla="*/ 2470 w 4526"/>
                <a:gd name="T81" fmla="*/ 3279 h 3789"/>
                <a:gd name="T82" fmla="*/ 3240 w 4526"/>
                <a:gd name="T83" fmla="*/ 2520 h 3789"/>
                <a:gd name="T84" fmla="*/ 2484 w 4526"/>
                <a:gd name="T85" fmla="*/ 2521 h 3789"/>
                <a:gd name="T86" fmla="*/ 3080 w 4526"/>
                <a:gd name="T87" fmla="*/ 2386 h 3789"/>
                <a:gd name="T88" fmla="*/ 2476 w 4526"/>
                <a:gd name="T89" fmla="*/ 2242 h 3789"/>
                <a:gd name="T90" fmla="*/ 2535 w 4526"/>
                <a:gd name="T91" fmla="*/ 2269 h 3789"/>
                <a:gd name="T92" fmla="*/ 3110 w 4526"/>
                <a:gd name="T93" fmla="*/ 1187 h 3789"/>
                <a:gd name="T94" fmla="*/ 2537 w 4526"/>
                <a:gd name="T95" fmla="*/ 1509 h 3789"/>
                <a:gd name="T96" fmla="*/ 2640 w 4526"/>
                <a:gd name="T97" fmla="*/ 1049 h 3789"/>
                <a:gd name="T98" fmla="*/ 2516 w 4526"/>
                <a:gd name="T99" fmla="*/ 1259 h 3789"/>
                <a:gd name="T100" fmla="*/ 3751 w 4526"/>
                <a:gd name="T101" fmla="*/ 256 h 3789"/>
                <a:gd name="T102" fmla="*/ 866 w 4526"/>
                <a:gd name="T103" fmla="*/ 327 h 3789"/>
                <a:gd name="T104" fmla="*/ 1039 w 4526"/>
                <a:gd name="T105" fmla="*/ 519 h 37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526" h="3789">
                  <a:moveTo>
                    <a:pt x="1302" y="3563"/>
                  </a:moveTo>
                  <a:cubicBezTo>
                    <a:pt x="800" y="3440"/>
                    <a:pt x="379" y="3335"/>
                    <a:pt x="367" y="3330"/>
                  </a:cubicBezTo>
                  <a:cubicBezTo>
                    <a:pt x="355" y="3325"/>
                    <a:pt x="339" y="3306"/>
                    <a:pt x="331" y="3288"/>
                  </a:cubicBezTo>
                  <a:cubicBezTo>
                    <a:pt x="311" y="3243"/>
                    <a:pt x="311" y="2894"/>
                    <a:pt x="331" y="2850"/>
                  </a:cubicBezTo>
                  <a:cubicBezTo>
                    <a:pt x="346" y="2817"/>
                    <a:pt x="402" y="2789"/>
                    <a:pt x="451" y="2789"/>
                  </a:cubicBezTo>
                  <a:cubicBezTo>
                    <a:pt x="517" y="2789"/>
                    <a:pt x="631" y="2698"/>
                    <a:pt x="702" y="2589"/>
                  </a:cubicBezTo>
                  <a:cubicBezTo>
                    <a:pt x="718" y="2563"/>
                    <a:pt x="799" y="2479"/>
                    <a:pt x="880" y="2401"/>
                  </a:cubicBezTo>
                  <a:lnTo>
                    <a:pt x="1028" y="2260"/>
                  </a:lnTo>
                  <a:lnTo>
                    <a:pt x="1004" y="2223"/>
                  </a:lnTo>
                  <a:lnTo>
                    <a:pt x="980" y="2187"/>
                  </a:lnTo>
                  <a:lnTo>
                    <a:pt x="830" y="2332"/>
                  </a:lnTo>
                  <a:cubicBezTo>
                    <a:pt x="748" y="2412"/>
                    <a:pt x="668" y="2481"/>
                    <a:pt x="652" y="2485"/>
                  </a:cubicBezTo>
                  <a:cubicBezTo>
                    <a:pt x="593" y="2501"/>
                    <a:pt x="524" y="2432"/>
                    <a:pt x="539" y="2373"/>
                  </a:cubicBezTo>
                  <a:cubicBezTo>
                    <a:pt x="543" y="2359"/>
                    <a:pt x="632" y="2261"/>
                    <a:pt x="738" y="2157"/>
                  </a:cubicBezTo>
                  <a:lnTo>
                    <a:pt x="930" y="1967"/>
                  </a:lnTo>
                  <a:lnTo>
                    <a:pt x="904" y="1935"/>
                  </a:lnTo>
                  <a:lnTo>
                    <a:pt x="878" y="1902"/>
                  </a:lnTo>
                  <a:lnTo>
                    <a:pt x="724" y="2053"/>
                  </a:lnTo>
                  <a:cubicBezTo>
                    <a:pt x="585" y="2189"/>
                    <a:pt x="565" y="2203"/>
                    <a:pt x="527" y="2200"/>
                  </a:cubicBezTo>
                  <a:cubicBezTo>
                    <a:pt x="471" y="2194"/>
                    <a:pt x="428" y="2139"/>
                    <a:pt x="441" y="2088"/>
                  </a:cubicBezTo>
                  <a:cubicBezTo>
                    <a:pt x="447" y="2066"/>
                    <a:pt x="531" y="1969"/>
                    <a:pt x="650" y="1847"/>
                  </a:cubicBezTo>
                  <a:cubicBezTo>
                    <a:pt x="759" y="1735"/>
                    <a:pt x="849" y="1638"/>
                    <a:pt x="849" y="1632"/>
                  </a:cubicBezTo>
                  <a:cubicBezTo>
                    <a:pt x="849" y="1626"/>
                    <a:pt x="840" y="1609"/>
                    <a:pt x="830" y="1595"/>
                  </a:cubicBezTo>
                  <a:cubicBezTo>
                    <a:pt x="811" y="1570"/>
                    <a:pt x="800" y="1579"/>
                    <a:pt x="613" y="1764"/>
                  </a:cubicBezTo>
                  <a:cubicBezTo>
                    <a:pt x="504" y="1871"/>
                    <a:pt x="405" y="1962"/>
                    <a:pt x="392" y="1967"/>
                  </a:cubicBezTo>
                  <a:cubicBezTo>
                    <a:pt x="342" y="1984"/>
                    <a:pt x="262" y="1911"/>
                    <a:pt x="262" y="1848"/>
                  </a:cubicBezTo>
                  <a:cubicBezTo>
                    <a:pt x="262" y="1835"/>
                    <a:pt x="343" y="1742"/>
                    <a:pt x="443" y="1642"/>
                  </a:cubicBezTo>
                  <a:cubicBezTo>
                    <a:pt x="601" y="1483"/>
                    <a:pt x="621" y="1458"/>
                    <a:pt x="602" y="1442"/>
                  </a:cubicBezTo>
                  <a:cubicBezTo>
                    <a:pt x="585" y="1428"/>
                    <a:pt x="577" y="1429"/>
                    <a:pt x="552" y="1451"/>
                  </a:cubicBezTo>
                  <a:cubicBezTo>
                    <a:pt x="107" y="1843"/>
                    <a:pt x="131" y="1825"/>
                    <a:pt x="77" y="1803"/>
                  </a:cubicBezTo>
                  <a:cubicBezTo>
                    <a:pt x="55" y="1794"/>
                    <a:pt x="31" y="1769"/>
                    <a:pt x="22" y="1748"/>
                  </a:cubicBezTo>
                  <a:cubicBezTo>
                    <a:pt x="0" y="1695"/>
                    <a:pt x="16" y="1673"/>
                    <a:pt x="181" y="1528"/>
                  </a:cubicBezTo>
                  <a:lnTo>
                    <a:pt x="315" y="1409"/>
                  </a:lnTo>
                  <a:lnTo>
                    <a:pt x="315" y="928"/>
                  </a:lnTo>
                  <a:cubicBezTo>
                    <a:pt x="315" y="453"/>
                    <a:pt x="316" y="445"/>
                    <a:pt x="344" y="409"/>
                  </a:cubicBezTo>
                  <a:cubicBezTo>
                    <a:pt x="372" y="374"/>
                    <a:pt x="378" y="373"/>
                    <a:pt x="451" y="380"/>
                  </a:cubicBezTo>
                  <a:lnTo>
                    <a:pt x="529" y="388"/>
                  </a:lnTo>
                  <a:lnTo>
                    <a:pt x="529" y="223"/>
                  </a:lnTo>
                  <a:cubicBezTo>
                    <a:pt x="529" y="60"/>
                    <a:pt x="529" y="57"/>
                    <a:pt x="564" y="30"/>
                  </a:cubicBezTo>
                  <a:cubicBezTo>
                    <a:pt x="583" y="15"/>
                    <a:pt x="606" y="2"/>
                    <a:pt x="614" y="2"/>
                  </a:cubicBezTo>
                  <a:cubicBezTo>
                    <a:pt x="622" y="2"/>
                    <a:pt x="989" y="179"/>
                    <a:pt x="1430" y="397"/>
                  </a:cubicBezTo>
                  <a:lnTo>
                    <a:pt x="2231" y="791"/>
                  </a:lnTo>
                  <a:lnTo>
                    <a:pt x="3033" y="395"/>
                  </a:lnTo>
                  <a:cubicBezTo>
                    <a:pt x="3792" y="20"/>
                    <a:pt x="3837" y="0"/>
                    <a:pt x="3874" y="15"/>
                  </a:cubicBezTo>
                  <a:cubicBezTo>
                    <a:pt x="3930" y="38"/>
                    <a:pt x="3942" y="79"/>
                    <a:pt x="3942" y="251"/>
                  </a:cubicBezTo>
                  <a:cubicBezTo>
                    <a:pt x="3942" y="392"/>
                    <a:pt x="3944" y="404"/>
                    <a:pt x="3965" y="396"/>
                  </a:cubicBezTo>
                  <a:cubicBezTo>
                    <a:pt x="3978" y="391"/>
                    <a:pt x="4022" y="383"/>
                    <a:pt x="4064" y="379"/>
                  </a:cubicBezTo>
                  <a:cubicBezTo>
                    <a:pt x="4186" y="368"/>
                    <a:pt x="4182" y="348"/>
                    <a:pt x="4183" y="922"/>
                  </a:cubicBezTo>
                  <a:lnTo>
                    <a:pt x="4184" y="1409"/>
                  </a:lnTo>
                  <a:lnTo>
                    <a:pt x="4330" y="1536"/>
                  </a:lnTo>
                  <a:cubicBezTo>
                    <a:pt x="4505" y="1687"/>
                    <a:pt x="4526" y="1733"/>
                    <a:pt x="4447" y="1792"/>
                  </a:cubicBezTo>
                  <a:cubicBezTo>
                    <a:pt x="4420" y="1812"/>
                    <a:pt x="4403" y="1816"/>
                    <a:pt x="4378" y="1807"/>
                  </a:cubicBezTo>
                  <a:cubicBezTo>
                    <a:pt x="4359" y="1801"/>
                    <a:pt x="4250" y="1712"/>
                    <a:pt x="4135" y="1611"/>
                  </a:cubicBezTo>
                  <a:cubicBezTo>
                    <a:pt x="3940" y="1438"/>
                    <a:pt x="3925" y="1427"/>
                    <a:pt x="3904" y="1448"/>
                  </a:cubicBezTo>
                  <a:cubicBezTo>
                    <a:pt x="3884" y="1469"/>
                    <a:pt x="3894" y="1482"/>
                    <a:pt x="4059" y="1643"/>
                  </a:cubicBezTo>
                  <a:cubicBezTo>
                    <a:pt x="4203" y="1783"/>
                    <a:pt x="4235" y="1821"/>
                    <a:pt x="4235" y="1852"/>
                  </a:cubicBezTo>
                  <a:cubicBezTo>
                    <a:pt x="4235" y="1928"/>
                    <a:pt x="4157" y="1990"/>
                    <a:pt x="4098" y="1961"/>
                  </a:cubicBezTo>
                  <a:cubicBezTo>
                    <a:pt x="4082" y="1954"/>
                    <a:pt x="3986" y="1862"/>
                    <a:pt x="3885" y="1758"/>
                  </a:cubicBezTo>
                  <a:lnTo>
                    <a:pt x="3702" y="1569"/>
                  </a:lnTo>
                  <a:lnTo>
                    <a:pt x="3675" y="1601"/>
                  </a:lnTo>
                  <a:lnTo>
                    <a:pt x="3647" y="1634"/>
                  </a:lnTo>
                  <a:lnTo>
                    <a:pt x="3792" y="1781"/>
                  </a:lnTo>
                  <a:cubicBezTo>
                    <a:pt x="4030" y="2024"/>
                    <a:pt x="4062" y="2063"/>
                    <a:pt x="4062" y="2108"/>
                  </a:cubicBezTo>
                  <a:cubicBezTo>
                    <a:pt x="4062" y="2131"/>
                    <a:pt x="4050" y="2161"/>
                    <a:pt x="4035" y="2176"/>
                  </a:cubicBezTo>
                  <a:cubicBezTo>
                    <a:pt x="3984" y="2227"/>
                    <a:pt x="3951" y="2212"/>
                    <a:pt x="3787" y="2056"/>
                  </a:cubicBezTo>
                  <a:cubicBezTo>
                    <a:pt x="3702" y="1975"/>
                    <a:pt x="3628" y="1909"/>
                    <a:pt x="3621" y="1909"/>
                  </a:cubicBezTo>
                  <a:cubicBezTo>
                    <a:pt x="3615" y="1909"/>
                    <a:pt x="3603" y="1922"/>
                    <a:pt x="3595" y="1937"/>
                  </a:cubicBezTo>
                  <a:cubicBezTo>
                    <a:pt x="3581" y="1963"/>
                    <a:pt x="3598" y="1983"/>
                    <a:pt x="3774" y="2161"/>
                  </a:cubicBezTo>
                  <a:cubicBezTo>
                    <a:pt x="3979" y="2367"/>
                    <a:pt x="3992" y="2390"/>
                    <a:pt x="3948" y="2453"/>
                  </a:cubicBezTo>
                  <a:cubicBezTo>
                    <a:pt x="3933" y="2474"/>
                    <a:pt x="3914" y="2482"/>
                    <a:pt x="3879" y="2482"/>
                  </a:cubicBezTo>
                  <a:cubicBezTo>
                    <a:pt x="3835" y="2482"/>
                    <a:pt x="3816" y="2468"/>
                    <a:pt x="3687" y="2341"/>
                  </a:cubicBezTo>
                  <a:cubicBezTo>
                    <a:pt x="3608" y="2263"/>
                    <a:pt x="3536" y="2202"/>
                    <a:pt x="3527" y="2205"/>
                  </a:cubicBezTo>
                  <a:cubicBezTo>
                    <a:pt x="3518" y="2208"/>
                    <a:pt x="3504" y="2221"/>
                    <a:pt x="3497" y="2233"/>
                  </a:cubicBezTo>
                  <a:cubicBezTo>
                    <a:pt x="3485" y="2252"/>
                    <a:pt x="3507" y="2280"/>
                    <a:pt x="3630" y="2405"/>
                  </a:cubicBezTo>
                  <a:cubicBezTo>
                    <a:pt x="3711" y="2488"/>
                    <a:pt x="3800" y="2587"/>
                    <a:pt x="3827" y="2625"/>
                  </a:cubicBezTo>
                  <a:cubicBezTo>
                    <a:pt x="3895" y="2720"/>
                    <a:pt x="3970" y="2772"/>
                    <a:pt x="4065" y="2791"/>
                  </a:cubicBezTo>
                  <a:cubicBezTo>
                    <a:pt x="4179" y="2813"/>
                    <a:pt x="4182" y="2820"/>
                    <a:pt x="4182" y="3076"/>
                  </a:cubicBezTo>
                  <a:cubicBezTo>
                    <a:pt x="4182" y="3272"/>
                    <a:pt x="4180" y="3293"/>
                    <a:pt x="4156" y="3315"/>
                  </a:cubicBezTo>
                  <a:cubicBezTo>
                    <a:pt x="4131" y="3338"/>
                    <a:pt x="2301" y="3789"/>
                    <a:pt x="2242" y="3787"/>
                  </a:cubicBezTo>
                  <a:cubicBezTo>
                    <a:pt x="2227" y="3787"/>
                    <a:pt x="1804" y="3686"/>
                    <a:pt x="1302" y="3563"/>
                  </a:cubicBezTo>
                  <a:close/>
                  <a:moveTo>
                    <a:pt x="2156" y="2277"/>
                  </a:moveTo>
                  <a:lnTo>
                    <a:pt x="2156" y="978"/>
                  </a:lnTo>
                  <a:lnTo>
                    <a:pt x="2112" y="968"/>
                  </a:lnTo>
                  <a:cubicBezTo>
                    <a:pt x="2088" y="963"/>
                    <a:pt x="1724" y="876"/>
                    <a:pt x="1303" y="774"/>
                  </a:cubicBezTo>
                  <a:cubicBezTo>
                    <a:pt x="882" y="672"/>
                    <a:pt x="530" y="589"/>
                    <a:pt x="520" y="589"/>
                  </a:cubicBezTo>
                  <a:cubicBezTo>
                    <a:pt x="506" y="589"/>
                    <a:pt x="502" y="653"/>
                    <a:pt x="502" y="916"/>
                  </a:cubicBezTo>
                  <a:lnTo>
                    <a:pt x="502" y="1242"/>
                  </a:lnTo>
                  <a:lnTo>
                    <a:pt x="564" y="1242"/>
                  </a:lnTo>
                  <a:cubicBezTo>
                    <a:pt x="635" y="1242"/>
                    <a:pt x="725" y="1287"/>
                    <a:pt x="759" y="1340"/>
                  </a:cubicBezTo>
                  <a:cubicBezTo>
                    <a:pt x="772" y="1360"/>
                    <a:pt x="803" y="1378"/>
                    <a:pt x="839" y="1387"/>
                  </a:cubicBezTo>
                  <a:cubicBezTo>
                    <a:pt x="906" y="1404"/>
                    <a:pt x="989" y="1477"/>
                    <a:pt x="1017" y="1544"/>
                  </a:cubicBezTo>
                  <a:cubicBezTo>
                    <a:pt x="1041" y="1600"/>
                    <a:pt x="1041" y="1697"/>
                    <a:pt x="1017" y="1729"/>
                  </a:cubicBezTo>
                  <a:cubicBezTo>
                    <a:pt x="1001" y="1751"/>
                    <a:pt x="1004" y="1760"/>
                    <a:pt x="1044" y="1812"/>
                  </a:cubicBezTo>
                  <a:cubicBezTo>
                    <a:pt x="1094" y="1878"/>
                    <a:pt x="1120" y="1958"/>
                    <a:pt x="1108" y="2008"/>
                  </a:cubicBezTo>
                  <a:cubicBezTo>
                    <a:pt x="1102" y="2033"/>
                    <a:pt x="1109" y="2053"/>
                    <a:pt x="1136" y="2085"/>
                  </a:cubicBezTo>
                  <a:cubicBezTo>
                    <a:pt x="1204" y="2166"/>
                    <a:pt x="1228" y="2272"/>
                    <a:pt x="1194" y="2340"/>
                  </a:cubicBezTo>
                  <a:cubicBezTo>
                    <a:pt x="1186" y="2356"/>
                    <a:pt x="1110" y="2438"/>
                    <a:pt x="1024" y="2522"/>
                  </a:cubicBezTo>
                  <a:cubicBezTo>
                    <a:pt x="939" y="2607"/>
                    <a:pt x="842" y="2711"/>
                    <a:pt x="809" y="2755"/>
                  </a:cubicBezTo>
                  <a:cubicBezTo>
                    <a:pt x="740" y="2847"/>
                    <a:pt x="639" y="2928"/>
                    <a:pt x="562" y="2953"/>
                  </a:cubicBezTo>
                  <a:lnTo>
                    <a:pt x="509" y="2971"/>
                  </a:lnTo>
                  <a:lnTo>
                    <a:pt x="505" y="3073"/>
                  </a:lnTo>
                  <a:cubicBezTo>
                    <a:pt x="501" y="3174"/>
                    <a:pt x="501" y="3175"/>
                    <a:pt x="538" y="3184"/>
                  </a:cubicBezTo>
                  <a:cubicBezTo>
                    <a:pt x="617" y="3205"/>
                    <a:pt x="2136" y="3573"/>
                    <a:pt x="2146" y="3574"/>
                  </a:cubicBezTo>
                  <a:cubicBezTo>
                    <a:pt x="2151" y="3575"/>
                    <a:pt x="2156" y="2991"/>
                    <a:pt x="2156" y="2277"/>
                  </a:cubicBezTo>
                  <a:close/>
                  <a:moveTo>
                    <a:pt x="1339" y="3183"/>
                  </a:moveTo>
                  <a:cubicBezTo>
                    <a:pt x="1007" y="3102"/>
                    <a:pt x="827" y="3052"/>
                    <a:pt x="809" y="3036"/>
                  </a:cubicBezTo>
                  <a:cubicBezTo>
                    <a:pt x="754" y="2986"/>
                    <a:pt x="794" y="2882"/>
                    <a:pt x="867" y="2882"/>
                  </a:cubicBezTo>
                  <a:cubicBezTo>
                    <a:pt x="902" y="2882"/>
                    <a:pt x="1877" y="3116"/>
                    <a:pt x="1931" y="3137"/>
                  </a:cubicBezTo>
                  <a:cubicBezTo>
                    <a:pt x="1951" y="3145"/>
                    <a:pt x="1974" y="3169"/>
                    <a:pt x="1983" y="3191"/>
                  </a:cubicBezTo>
                  <a:cubicBezTo>
                    <a:pt x="1997" y="3225"/>
                    <a:pt x="1996" y="3235"/>
                    <a:pt x="1973" y="3266"/>
                  </a:cubicBezTo>
                  <a:cubicBezTo>
                    <a:pt x="1953" y="3294"/>
                    <a:pt x="1934" y="3303"/>
                    <a:pt x="1894" y="3305"/>
                  </a:cubicBezTo>
                  <a:cubicBezTo>
                    <a:pt x="1866" y="3306"/>
                    <a:pt x="1616" y="3251"/>
                    <a:pt x="1339" y="3183"/>
                  </a:cubicBezTo>
                  <a:close/>
                  <a:moveTo>
                    <a:pt x="1622" y="2749"/>
                  </a:moveTo>
                  <a:cubicBezTo>
                    <a:pt x="1450" y="2707"/>
                    <a:pt x="1299" y="2668"/>
                    <a:pt x="1287" y="2663"/>
                  </a:cubicBezTo>
                  <a:cubicBezTo>
                    <a:pt x="1251" y="2648"/>
                    <a:pt x="1230" y="2584"/>
                    <a:pt x="1250" y="2547"/>
                  </a:cubicBezTo>
                  <a:cubicBezTo>
                    <a:pt x="1286" y="2478"/>
                    <a:pt x="1299" y="2479"/>
                    <a:pt x="1686" y="2570"/>
                  </a:cubicBezTo>
                  <a:cubicBezTo>
                    <a:pt x="1951" y="2633"/>
                    <a:pt x="2007" y="2650"/>
                    <a:pt x="2032" y="2678"/>
                  </a:cubicBezTo>
                  <a:cubicBezTo>
                    <a:pt x="2049" y="2696"/>
                    <a:pt x="2062" y="2722"/>
                    <a:pt x="2062" y="2737"/>
                  </a:cubicBezTo>
                  <a:cubicBezTo>
                    <a:pt x="2062" y="2774"/>
                    <a:pt x="2003" y="2829"/>
                    <a:pt x="1966" y="2827"/>
                  </a:cubicBezTo>
                  <a:cubicBezTo>
                    <a:pt x="1949" y="2827"/>
                    <a:pt x="1795" y="2791"/>
                    <a:pt x="1622" y="2749"/>
                  </a:cubicBezTo>
                  <a:close/>
                  <a:moveTo>
                    <a:pt x="1697" y="2484"/>
                  </a:moveTo>
                  <a:cubicBezTo>
                    <a:pt x="1428" y="2417"/>
                    <a:pt x="1404" y="2404"/>
                    <a:pt x="1412" y="2330"/>
                  </a:cubicBezTo>
                  <a:cubicBezTo>
                    <a:pt x="1414" y="2307"/>
                    <a:pt x="1430" y="2281"/>
                    <a:pt x="1450" y="2266"/>
                  </a:cubicBezTo>
                  <a:lnTo>
                    <a:pt x="1485" y="2240"/>
                  </a:lnTo>
                  <a:lnTo>
                    <a:pt x="1743" y="2302"/>
                  </a:lnTo>
                  <a:cubicBezTo>
                    <a:pt x="2005" y="2365"/>
                    <a:pt x="2026" y="2373"/>
                    <a:pt x="2051" y="2419"/>
                  </a:cubicBezTo>
                  <a:cubicBezTo>
                    <a:pt x="2070" y="2454"/>
                    <a:pt x="2041" y="2521"/>
                    <a:pt x="1999" y="2537"/>
                  </a:cubicBezTo>
                  <a:cubicBezTo>
                    <a:pt x="1959" y="2552"/>
                    <a:pt x="1992" y="2558"/>
                    <a:pt x="1697" y="2484"/>
                  </a:cubicBezTo>
                  <a:close/>
                  <a:moveTo>
                    <a:pt x="1631" y="2197"/>
                  </a:moveTo>
                  <a:cubicBezTo>
                    <a:pt x="1340" y="2125"/>
                    <a:pt x="1316" y="2113"/>
                    <a:pt x="1316" y="2046"/>
                  </a:cubicBezTo>
                  <a:cubicBezTo>
                    <a:pt x="1316" y="2015"/>
                    <a:pt x="1369" y="1949"/>
                    <a:pt x="1394" y="1949"/>
                  </a:cubicBezTo>
                  <a:cubicBezTo>
                    <a:pt x="1417" y="1949"/>
                    <a:pt x="1962" y="2082"/>
                    <a:pt x="1998" y="2097"/>
                  </a:cubicBezTo>
                  <a:cubicBezTo>
                    <a:pt x="2017" y="2105"/>
                    <a:pt x="2041" y="2129"/>
                    <a:pt x="2050" y="2151"/>
                  </a:cubicBezTo>
                  <a:cubicBezTo>
                    <a:pt x="2064" y="2185"/>
                    <a:pt x="2063" y="2195"/>
                    <a:pt x="2039" y="2226"/>
                  </a:cubicBezTo>
                  <a:cubicBezTo>
                    <a:pt x="2000" y="2280"/>
                    <a:pt x="1945" y="2276"/>
                    <a:pt x="1631" y="2197"/>
                  </a:cubicBezTo>
                  <a:close/>
                  <a:moveTo>
                    <a:pt x="3169" y="3378"/>
                  </a:moveTo>
                  <a:lnTo>
                    <a:pt x="3989" y="3180"/>
                  </a:lnTo>
                  <a:lnTo>
                    <a:pt x="3993" y="3071"/>
                  </a:lnTo>
                  <a:cubicBezTo>
                    <a:pt x="3996" y="2979"/>
                    <a:pt x="3993" y="2962"/>
                    <a:pt x="3975" y="2962"/>
                  </a:cubicBezTo>
                  <a:cubicBezTo>
                    <a:pt x="3915" y="2962"/>
                    <a:pt x="3765" y="2853"/>
                    <a:pt x="3695" y="2757"/>
                  </a:cubicBezTo>
                  <a:cubicBezTo>
                    <a:pt x="3667" y="2720"/>
                    <a:pt x="3571" y="2614"/>
                    <a:pt x="3481" y="2522"/>
                  </a:cubicBezTo>
                  <a:cubicBezTo>
                    <a:pt x="3390" y="2431"/>
                    <a:pt x="3310" y="2338"/>
                    <a:pt x="3303" y="2317"/>
                  </a:cubicBezTo>
                  <a:cubicBezTo>
                    <a:pt x="3277" y="2250"/>
                    <a:pt x="3313" y="2138"/>
                    <a:pt x="3380" y="2078"/>
                  </a:cubicBezTo>
                  <a:cubicBezTo>
                    <a:pt x="3400" y="2060"/>
                    <a:pt x="3404" y="2042"/>
                    <a:pt x="3399" y="1991"/>
                  </a:cubicBezTo>
                  <a:cubicBezTo>
                    <a:pt x="3392" y="1923"/>
                    <a:pt x="3420" y="1851"/>
                    <a:pt x="3474" y="1793"/>
                  </a:cubicBezTo>
                  <a:cubicBezTo>
                    <a:pt x="3500" y="1765"/>
                    <a:pt x="3500" y="1761"/>
                    <a:pt x="3481" y="1714"/>
                  </a:cubicBezTo>
                  <a:cubicBezTo>
                    <a:pt x="3428" y="1588"/>
                    <a:pt x="3533" y="1413"/>
                    <a:pt x="3682" y="1381"/>
                  </a:cubicBezTo>
                  <a:cubicBezTo>
                    <a:pt x="3704" y="1376"/>
                    <a:pt x="3730" y="1360"/>
                    <a:pt x="3740" y="1346"/>
                  </a:cubicBezTo>
                  <a:cubicBezTo>
                    <a:pt x="3750" y="1332"/>
                    <a:pt x="3783" y="1303"/>
                    <a:pt x="3812" y="1281"/>
                  </a:cubicBezTo>
                  <a:cubicBezTo>
                    <a:pt x="3854" y="1251"/>
                    <a:pt x="3880" y="1242"/>
                    <a:pt x="3931" y="1242"/>
                  </a:cubicBezTo>
                  <a:lnTo>
                    <a:pt x="3996" y="1242"/>
                  </a:lnTo>
                  <a:lnTo>
                    <a:pt x="3996" y="916"/>
                  </a:lnTo>
                  <a:cubicBezTo>
                    <a:pt x="3996" y="736"/>
                    <a:pt x="3991" y="589"/>
                    <a:pt x="3986" y="588"/>
                  </a:cubicBezTo>
                  <a:cubicBezTo>
                    <a:pt x="3980" y="588"/>
                    <a:pt x="3608" y="677"/>
                    <a:pt x="3159" y="785"/>
                  </a:cubicBezTo>
                  <a:lnTo>
                    <a:pt x="2342" y="981"/>
                  </a:lnTo>
                  <a:lnTo>
                    <a:pt x="2342" y="2278"/>
                  </a:lnTo>
                  <a:cubicBezTo>
                    <a:pt x="2342" y="2992"/>
                    <a:pt x="2344" y="3576"/>
                    <a:pt x="2346" y="3576"/>
                  </a:cubicBezTo>
                  <a:cubicBezTo>
                    <a:pt x="2348" y="3576"/>
                    <a:pt x="2719" y="3486"/>
                    <a:pt x="3169" y="3378"/>
                  </a:cubicBezTo>
                  <a:close/>
                  <a:moveTo>
                    <a:pt x="2470" y="3279"/>
                  </a:moveTo>
                  <a:cubicBezTo>
                    <a:pt x="2442" y="3239"/>
                    <a:pt x="2443" y="3185"/>
                    <a:pt x="2474" y="3157"/>
                  </a:cubicBezTo>
                  <a:cubicBezTo>
                    <a:pt x="2503" y="3131"/>
                    <a:pt x="3029" y="3001"/>
                    <a:pt x="3061" y="3012"/>
                  </a:cubicBezTo>
                  <a:cubicBezTo>
                    <a:pt x="3102" y="3026"/>
                    <a:pt x="3129" y="3060"/>
                    <a:pt x="3129" y="3096"/>
                  </a:cubicBezTo>
                  <a:cubicBezTo>
                    <a:pt x="3129" y="3169"/>
                    <a:pt x="3099" y="3184"/>
                    <a:pt x="2828" y="3248"/>
                  </a:cubicBezTo>
                  <a:cubicBezTo>
                    <a:pt x="2535" y="3318"/>
                    <a:pt x="2499" y="3321"/>
                    <a:pt x="2470" y="3279"/>
                  </a:cubicBezTo>
                  <a:close/>
                  <a:moveTo>
                    <a:pt x="2478" y="2798"/>
                  </a:moveTo>
                  <a:cubicBezTo>
                    <a:pt x="2445" y="2763"/>
                    <a:pt x="2440" y="2712"/>
                    <a:pt x="2466" y="2677"/>
                  </a:cubicBezTo>
                  <a:cubicBezTo>
                    <a:pt x="2479" y="2660"/>
                    <a:pt x="2575" y="2630"/>
                    <a:pt x="2803" y="2575"/>
                  </a:cubicBezTo>
                  <a:cubicBezTo>
                    <a:pt x="3151" y="2489"/>
                    <a:pt x="3206" y="2483"/>
                    <a:pt x="3240" y="2520"/>
                  </a:cubicBezTo>
                  <a:cubicBezTo>
                    <a:pt x="3269" y="2552"/>
                    <a:pt x="3268" y="2619"/>
                    <a:pt x="3238" y="2647"/>
                  </a:cubicBezTo>
                  <a:cubicBezTo>
                    <a:pt x="3217" y="2666"/>
                    <a:pt x="2582" y="2829"/>
                    <a:pt x="2528" y="2829"/>
                  </a:cubicBezTo>
                  <a:cubicBezTo>
                    <a:pt x="2516" y="2829"/>
                    <a:pt x="2494" y="2815"/>
                    <a:pt x="2478" y="2798"/>
                  </a:cubicBezTo>
                  <a:close/>
                  <a:moveTo>
                    <a:pt x="2484" y="2521"/>
                  </a:moveTo>
                  <a:cubicBezTo>
                    <a:pt x="2442" y="2488"/>
                    <a:pt x="2437" y="2427"/>
                    <a:pt x="2474" y="2390"/>
                  </a:cubicBezTo>
                  <a:cubicBezTo>
                    <a:pt x="2491" y="2374"/>
                    <a:pt x="2585" y="2345"/>
                    <a:pt x="2754" y="2304"/>
                  </a:cubicBezTo>
                  <a:cubicBezTo>
                    <a:pt x="3035" y="2236"/>
                    <a:pt x="3059" y="2237"/>
                    <a:pt x="3090" y="2311"/>
                  </a:cubicBezTo>
                  <a:cubicBezTo>
                    <a:pt x="3104" y="2345"/>
                    <a:pt x="3103" y="2355"/>
                    <a:pt x="3080" y="2386"/>
                  </a:cubicBezTo>
                  <a:cubicBezTo>
                    <a:pt x="3056" y="2418"/>
                    <a:pt x="3023" y="2430"/>
                    <a:pt x="2801" y="2485"/>
                  </a:cubicBezTo>
                  <a:cubicBezTo>
                    <a:pt x="2662" y="2520"/>
                    <a:pt x="2542" y="2548"/>
                    <a:pt x="2534" y="2548"/>
                  </a:cubicBezTo>
                  <a:cubicBezTo>
                    <a:pt x="2526" y="2549"/>
                    <a:pt x="2503" y="2536"/>
                    <a:pt x="2484" y="2521"/>
                  </a:cubicBezTo>
                  <a:close/>
                  <a:moveTo>
                    <a:pt x="2476" y="2242"/>
                  </a:moveTo>
                  <a:cubicBezTo>
                    <a:pt x="2442" y="2208"/>
                    <a:pt x="2441" y="2147"/>
                    <a:pt x="2475" y="2116"/>
                  </a:cubicBezTo>
                  <a:cubicBezTo>
                    <a:pt x="2505" y="2089"/>
                    <a:pt x="3083" y="1946"/>
                    <a:pt x="3119" y="1957"/>
                  </a:cubicBezTo>
                  <a:cubicBezTo>
                    <a:pt x="3181" y="1976"/>
                    <a:pt x="3206" y="2070"/>
                    <a:pt x="3159" y="2112"/>
                  </a:cubicBezTo>
                  <a:cubicBezTo>
                    <a:pt x="3135" y="2133"/>
                    <a:pt x="2596" y="2269"/>
                    <a:pt x="2535" y="2269"/>
                  </a:cubicBezTo>
                  <a:cubicBezTo>
                    <a:pt x="2517" y="2269"/>
                    <a:pt x="2490" y="2257"/>
                    <a:pt x="2476" y="2242"/>
                  </a:cubicBezTo>
                  <a:close/>
                  <a:moveTo>
                    <a:pt x="2476" y="1482"/>
                  </a:moveTo>
                  <a:cubicBezTo>
                    <a:pt x="2442" y="1448"/>
                    <a:pt x="2441" y="1387"/>
                    <a:pt x="2474" y="1357"/>
                  </a:cubicBezTo>
                  <a:cubicBezTo>
                    <a:pt x="2491" y="1342"/>
                    <a:pt x="2720" y="1281"/>
                    <a:pt x="3110" y="1187"/>
                  </a:cubicBezTo>
                  <a:lnTo>
                    <a:pt x="3720" y="1040"/>
                  </a:lnTo>
                  <a:lnTo>
                    <a:pt x="3754" y="1066"/>
                  </a:lnTo>
                  <a:cubicBezTo>
                    <a:pt x="3816" y="1112"/>
                    <a:pt x="3808" y="1193"/>
                    <a:pt x="3738" y="1222"/>
                  </a:cubicBezTo>
                  <a:cubicBezTo>
                    <a:pt x="3679" y="1246"/>
                    <a:pt x="2580" y="1509"/>
                    <a:pt x="2537" y="1509"/>
                  </a:cubicBezTo>
                  <a:cubicBezTo>
                    <a:pt x="2518" y="1509"/>
                    <a:pt x="2490" y="1497"/>
                    <a:pt x="2476" y="1482"/>
                  </a:cubicBezTo>
                  <a:close/>
                  <a:moveTo>
                    <a:pt x="2516" y="1259"/>
                  </a:moveTo>
                  <a:cubicBezTo>
                    <a:pt x="2476" y="1245"/>
                    <a:pt x="2449" y="1211"/>
                    <a:pt x="2449" y="1175"/>
                  </a:cubicBezTo>
                  <a:cubicBezTo>
                    <a:pt x="2449" y="1109"/>
                    <a:pt x="2484" y="1086"/>
                    <a:pt x="2640" y="1049"/>
                  </a:cubicBezTo>
                  <a:cubicBezTo>
                    <a:pt x="2821" y="1007"/>
                    <a:pt x="2840" y="1007"/>
                    <a:pt x="2875" y="1051"/>
                  </a:cubicBezTo>
                  <a:cubicBezTo>
                    <a:pt x="2940" y="1135"/>
                    <a:pt x="2897" y="1181"/>
                    <a:pt x="2715" y="1224"/>
                  </a:cubicBezTo>
                  <a:cubicBezTo>
                    <a:pt x="2638" y="1242"/>
                    <a:pt x="2567" y="1259"/>
                    <a:pt x="2556" y="1262"/>
                  </a:cubicBezTo>
                  <a:cubicBezTo>
                    <a:pt x="2545" y="1264"/>
                    <a:pt x="2527" y="1263"/>
                    <a:pt x="2516" y="1259"/>
                  </a:cubicBezTo>
                  <a:close/>
                  <a:moveTo>
                    <a:pt x="3382" y="538"/>
                  </a:moveTo>
                  <a:lnTo>
                    <a:pt x="3749" y="448"/>
                  </a:lnTo>
                  <a:lnTo>
                    <a:pt x="3753" y="352"/>
                  </a:lnTo>
                  <a:cubicBezTo>
                    <a:pt x="3755" y="299"/>
                    <a:pt x="3754" y="256"/>
                    <a:pt x="3751" y="256"/>
                  </a:cubicBezTo>
                  <a:cubicBezTo>
                    <a:pt x="3738" y="256"/>
                    <a:pt x="2990" y="627"/>
                    <a:pt x="3002" y="627"/>
                  </a:cubicBezTo>
                  <a:cubicBezTo>
                    <a:pt x="3010" y="628"/>
                    <a:pt x="3181" y="587"/>
                    <a:pt x="3382" y="538"/>
                  </a:cubicBezTo>
                  <a:close/>
                  <a:moveTo>
                    <a:pt x="1216" y="499"/>
                  </a:moveTo>
                  <a:cubicBezTo>
                    <a:pt x="1106" y="444"/>
                    <a:pt x="948" y="366"/>
                    <a:pt x="866" y="327"/>
                  </a:cubicBezTo>
                  <a:lnTo>
                    <a:pt x="716" y="257"/>
                  </a:lnTo>
                  <a:lnTo>
                    <a:pt x="716" y="348"/>
                  </a:lnTo>
                  <a:lnTo>
                    <a:pt x="716" y="440"/>
                  </a:lnTo>
                  <a:lnTo>
                    <a:pt x="1039" y="519"/>
                  </a:lnTo>
                  <a:cubicBezTo>
                    <a:pt x="1217" y="563"/>
                    <a:pt x="1374" y="600"/>
                    <a:pt x="1389" y="600"/>
                  </a:cubicBezTo>
                  <a:cubicBezTo>
                    <a:pt x="1404" y="600"/>
                    <a:pt x="1326" y="555"/>
                    <a:pt x="1216" y="499"/>
                  </a:cubicBezTo>
                  <a:close/>
                </a:path>
              </a:pathLst>
            </a:custGeom>
            <a:solidFill>
              <a:schemeClr val="accent2"/>
            </a:solidFill>
            <a:ln w="0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vert="horz" wrap="square" lIns="51430" tIns="25715" rIns="51430" bIns="25715" numCol="1" anchor="t" anchorCtr="0" compatLnSpc="1">
              <a:prstTxWarp prst="textNoShape">
                <a:avLst/>
              </a:prstTxWarp>
            </a:bodyPr>
            <a:lstStyle/>
            <a:p>
              <a:endParaRPr lang="en-US" sz="900"/>
            </a:p>
          </p:txBody>
        </p:sp>
        <p:cxnSp>
          <p:nvCxnSpPr>
            <p:cNvPr id="53" name="Straight Connector 52"/>
            <p:cNvCxnSpPr/>
            <p:nvPr/>
          </p:nvCxnSpPr>
          <p:spPr bwMode="gray">
            <a:xfrm>
              <a:off x="7281477" y="2562297"/>
              <a:ext cx="850350" cy="0"/>
            </a:xfrm>
            <a:prstGeom prst="line">
              <a:avLst/>
            </a:prstGeom>
            <a:ln w="38100">
              <a:solidFill>
                <a:schemeClr val="tx2"/>
              </a:solidFill>
              <a:headEnd type="arrow" w="med" len="med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/>
            <p:cNvCxnSpPr/>
            <p:nvPr/>
          </p:nvCxnSpPr>
          <p:spPr bwMode="gray">
            <a:xfrm>
              <a:off x="6997676" y="2876398"/>
              <a:ext cx="573631" cy="511955"/>
            </a:xfrm>
            <a:prstGeom prst="line">
              <a:avLst/>
            </a:prstGeom>
            <a:ln w="38100">
              <a:solidFill>
                <a:schemeClr val="tx2"/>
              </a:solidFill>
              <a:headEnd type="arrow" w="med" len="med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/>
            <p:cNvCxnSpPr/>
            <p:nvPr/>
          </p:nvCxnSpPr>
          <p:spPr bwMode="gray">
            <a:xfrm flipH="1">
              <a:off x="7841996" y="2876398"/>
              <a:ext cx="573631" cy="511955"/>
            </a:xfrm>
            <a:prstGeom prst="line">
              <a:avLst/>
            </a:prstGeom>
            <a:ln w="38100">
              <a:solidFill>
                <a:schemeClr val="tx2"/>
              </a:solidFill>
              <a:headEnd type="arrow" w="med" len="med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7" name="Freeform 21"/>
            <p:cNvSpPr>
              <a:spLocks noEditPoints="1"/>
            </p:cNvSpPr>
            <p:nvPr/>
          </p:nvSpPr>
          <p:spPr bwMode="gray">
            <a:xfrm rot="16200000">
              <a:off x="6834465" y="4286822"/>
              <a:ext cx="480116" cy="421035"/>
            </a:xfrm>
            <a:custGeom>
              <a:avLst/>
              <a:gdLst>
                <a:gd name="T0" fmla="*/ 1216 w 2808"/>
                <a:gd name="T1" fmla="*/ 2262 h 2467"/>
                <a:gd name="T2" fmla="*/ 1558 w 2808"/>
                <a:gd name="T3" fmla="*/ 2252 h 2467"/>
                <a:gd name="T4" fmla="*/ 865 w 2808"/>
                <a:gd name="T5" fmla="*/ 1975 h 2467"/>
                <a:gd name="T6" fmla="*/ 1153 w 2808"/>
                <a:gd name="T7" fmla="*/ 1857 h 2467"/>
                <a:gd name="T8" fmla="*/ 981 w 2808"/>
                <a:gd name="T9" fmla="*/ 2018 h 2467"/>
                <a:gd name="T10" fmla="*/ 1292 w 2808"/>
                <a:gd name="T11" fmla="*/ 1994 h 2467"/>
                <a:gd name="T12" fmla="*/ 1386 w 2808"/>
                <a:gd name="T13" fmla="*/ 1678 h 2467"/>
                <a:gd name="T14" fmla="*/ 1515 w 2808"/>
                <a:gd name="T15" fmla="*/ 1966 h 2467"/>
                <a:gd name="T16" fmla="*/ 1292 w 2808"/>
                <a:gd name="T17" fmla="*/ 1994 h 2467"/>
                <a:gd name="T18" fmla="*/ 425 w 2808"/>
                <a:gd name="T19" fmla="*/ 1532 h 2467"/>
                <a:gd name="T20" fmla="*/ 739 w 2808"/>
                <a:gd name="T21" fmla="*/ 1386 h 2467"/>
                <a:gd name="T22" fmla="*/ 491 w 2808"/>
                <a:gd name="T23" fmla="*/ 1593 h 2467"/>
                <a:gd name="T24" fmla="*/ 811 w 2808"/>
                <a:gd name="T25" fmla="*/ 1426 h 2467"/>
                <a:gd name="T26" fmla="*/ 1053 w 2808"/>
                <a:gd name="T27" fmla="*/ 1599 h 2467"/>
                <a:gd name="T28" fmla="*/ 1304 w 2808"/>
                <a:gd name="T29" fmla="*/ 1592 h 2467"/>
                <a:gd name="T30" fmla="*/ 1387 w 2808"/>
                <a:gd name="T31" fmla="*/ 1272 h 2467"/>
                <a:gd name="T32" fmla="*/ 1304 w 2808"/>
                <a:gd name="T33" fmla="*/ 1592 h 2467"/>
                <a:gd name="T34" fmla="*/ 1620 w 2808"/>
                <a:gd name="T35" fmla="*/ 1434 h 2467"/>
                <a:gd name="T36" fmla="*/ 1793 w 2808"/>
                <a:gd name="T37" fmla="*/ 1272 h 2467"/>
                <a:gd name="T38" fmla="*/ 1967 w 2808"/>
                <a:gd name="T39" fmla="*/ 1434 h 2467"/>
                <a:gd name="T40" fmla="*/ 1717 w 2808"/>
                <a:gd name="T41" fmla="*/ 1599 h 2467"/>
                <a:gd name="T42" fmla="*/ 2020 w 2808"/>
                <a:gd name="T43" fmla="*/ 1448 h 2467"/>
                <a:gd name="T44" fmla="*/ 2338 w 2808"/>
                <a:gd name="T45" fmla="*/ 1545 h 2467"/>
                <a:gd name="T46" fmla="*/ 2530 w 2808"/>
                <a:gd name="T47" fmla="*/ 1599 h 2467"/>
                <a:gd name="T48" fmla="*/ 2750 w 2808"/>
                <a:gd name="T49" fmla="*/ 1351 h 2467"/>
                <a:gd name="T50" fmla="*/ 2530 w 2808"/>
                <a:gd name="T51" fmla="*/ 1599 h 2467"/>
                <a:gd name="T52" fmla="*/ 0 w 2808"/>
                <a:gd name="T53" fmla="*/ 1238 h 2467"/>
                <a:gd name="T54" fmla="*/ 340 w 2808"/>
                <a:gd name="T55" fmla="*/ 1238 h 2467"/>
                <a:gd name="T56" fmla="*/ 478 w 2808"/>
                <a:gd name="T57" fmla="*/ 1180 h 2467"/>
                <a:gd name="T58" fmla="*/ 491 w 2808"/>
                <a:gd name="T59" fmla="*/ 884 h 2467"/>
                <a:gd name="T60" fmla="*/ 702 w 2808"/>
                <a:gd name="T61" fmla="*/ 1154 h 2467"/>
                <a:gd name="T62" fmla="*/ 865 w 2808"/>
                <a:gd name="T63" fmla="*/ 1161 h 2467"/>
                <a:gd name="T64" fmla="*/ 904 w 2808"/>
                <a:gd name="T65" fmla="*/ 881 h 2467"/>
                <a:gd name="T66" fmla="*/ 1073 w 2808"/>
                <a:gd name="T67" fmla="*/ 1183 h 2467"/>
                <a:gd name="T68" fmla="*/ 865 w 2808"/>
                <a:gd name="T69" fmla="*/ 1161 h 2467"/>
                <a:gd name="T70" fmla="*/ 1217 w 2808"/>
                <a:gd name="T71" fmla="*/ 1038 h 2467"/>
                <a:gd name="T72" fmla="*/ 1475 w 2808"/>
                <a:gd name="T73" fmla="*/ 889 h 2467"/>
                <a:gd name="T74" fmla="*/ 1299 w 2808"/>
                <a:gd name="T75" fmla="*/ 1185 h 2467"/>
                <a:gd name="T76" fmla="*/ 1720 w 2808"/>
                <a:gd name="T77" fmla="*/ 878 h 2467"/>
                <a:gd name="T78" fmla="*/ 1886 w 2808"/>
                <a:gd name="T79" fmla="*/ 1183 h 2467"/>
                <a:gd name="T80" fmla="*/ 2103 w 2808"/>
                <a:gd name="T81" fmla="*/ 1178 h 2467"/>
                <a:gd name="T82" fmla="*/ 2338 w 2808"/>
                <a:gd name="T83" fmla="*/ 932 h 2467"/>
                <a:gd name="T84" fmla="*/ 2491 w 2808"/>
                <a:gd name="T85" fmla="*/ 1161 h 2467"/>
                <a:gd name="T86" fmla="*/ 2774 w 2808"/>
                <a:gd name="T87" fmla="*/ 1080 h 2467"/>
                <a:gd name="T88" fmla="*/ 2608 w 2808"/>
                <a:gd name="T89" fmla="*/ 1205 h 2467"/>
                <a:gd name="T90" fmla="*/ 891 w 2808"/>
                <a:gd name="T91" fmla="*/ 779 h 2467"/>
                <a:gd name="T92" fmla="*/ 981 w 2808"/>
                <a:gd name="T93" fmla="*/ 458 h 2467"/>
                <a:gd name="T94" fmla="*/ 1153 w 2808"/>
                <a:gd name="T95" fmla="*/ 620 h 2467"/>
                <a:gd name="T96" fmla="*/ 1327 w 2808"/>
                <a:gd name="T97" fmla="*/ 796 h 2467"/>
                <a:gd name="T98" fmla="*/ 1232 w 2808"/>
                <a:gd name="T99" fmla="*/ 559 h 2467"/>
                <a:gd name="T100" fmla="*/ 1487 w 2808"/>
                <a:gd name="T101" fmla="*/ 769 h 2467"/>
                <a:gd name="T102" fmla="*/ 1331 w 2808"/>
                <a:gd name="T103" fmla="*/ 384 h 2467"/>
                <a:gd name="T104" fmla="*/ 1496 w 2808"/>
                <a:gd name="T105" fmla="*/ 356 h 24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808" h="2467">
                  <a:moveTo>
                    <a:pt x="1314" y="2409"/>
                  </a:moveTo>
                  <a:cubicBezTo>
                    <a:pt x="1251" y="2376"/>
                    <a:pt x="1216" y="2324"/>
                    <a:pt x="1216" y="2262"/>
                  </a:cubicBezTo>
                  <a:cubicBezTo>
                    <a:pt x="1216" y="2123"/>
                    <a:pt x="1349" y="2041"/>
                    <a:pt x="1471" y="2104"/>
                  </a:cubicBezTo>
                  <a:cubicBezTo>
                    <a:pt x="1529" y="2134"/>
                    <a:pt x="1558" y="2183"/>
                    <a:pt x="1558" y="2252"/>
                  </a:cubicBezTo>
                  <a:cubicBezTo>
                    <a:pt x="1558" y="2382"/>
                    <a:pt x="1426" y="2467"/>
                    <a:pt x="1314" y="2409"/>
                  </a:cubicBezTo>
                  <a:close/>
                  <a:moveTo>
                    <a:pt x="865" y="1975"/>
                  </a:moveTo>
                  <a:cubicBezTo>
                    <a:pt x="779" y="1895"/>
                    <a:pt x="791" y="1759"/>
                    <a:pt x="891" y="1698"/>
                  </a:cubicBezTo>
                  <a:cubicBezTo>
                    <a:pt x="1009" y="1626"/>
                    <a:pt x="1153" y="1713"/>
                    <a:pt x="1153" y="1857"/>
                  </a:cubicBezTo>
                  <a:cubicBezTo>
                    <a:pt x="1153" y="1907"/>
                    <a:pt x="1146" y="1922"/>
                    <a:pt x="1102" y="1967"/>
                  </a:cubicBezTo>
                  <a:cubicBezTo>
                    <a:pt x="1055" y="2013"/>
                    <a:pt x="1043" y="2018"/>
                    <a:pt x="981" y="2018"/>
                  </a:cubicBezTo>
                  <a:cubicBezTo>
                    <a:pt x="923" y="2018"/>
                    <a:pt x="906" y="2012"/>
                    <a:pt x="865" y="1975"/>
                  </a:cubicBezTo>
                  <a:close/>
                  <a:moveTo>
                    <a:pt x="1292" y="1994"/>
                  </a:moveTo>
                  <a:cubicBezTo>
                    <a:pt x="1199" y="1935"/>
                    <a:pt x="1190" y="1798"/>
                    <a:pt x="1274" y="1718"/>
                  </a:cubicBezTo>
                  <a:cubicBezTo>
                    <a:pt x="1309" y="1684"/>
                    <a:pt x="1326" y="1678"/>
                    <a:pt x="1386" y="1678"/>
                  </a:cubicBezTo>
                  <a:cubicBezTo>
                    <a:pt x="1444" y="1678"/>
                    <a:pt x="1465" y="1685"/>
                    <a:pt x="1494" y="1712"/>
                  </a:cubicBezTo>
                  <a:cubicBezTo>
                    <a:pt x="1574" y="1786"/>
                    <a:pt x="1582" y="1885"/>
                    <a:pt x="1515" y="1966"/>
                  </a:cubicBezTo>
                  <a:cubicBezTo>
                    <a:pt x="1484" y="2003"/>
                    <a:pt x="1468" y="2010"/>
                    <a:pt x="1406" y="2015"/>
                  </a:cubicBezTo>
                  <a:cubicBezTo>
                    <a:pt x="1350" y="2019"/>
                    <a:pt x="1324" y="2014"/>
                    <a:pt x="1292" y="1994"/>
                  </a:cubicBezTo>
                  <a:close/>
                  <a:moveTo>
                    <a:pt x="491" y="1593"/>
                  </a:moveTo>
                  <a:cubicBezTo>
                    <a:pt x="467" y="1578"/>
                    <a:pt x="438" y="1551"/>
                    <a:pt x="425" y="1532"/>
                  </a:cubicBezTo>
                  <a:cubicBezTo>
                    <a:pt x="396" y="1487"/>
                    <a:pt x="397" y="1392"/>
                    <a:pt x="427" y="1346"/>
                  </a:cubicBezTo>
                  <a:cubicBezTo>
                    <a:pt x="503" y="1230"/>
                    <a:pt x="693" y="1255"/>
                    <a:pt x="739" y="1386"/>
                  </a:cubicBezTo>
                  <a:cubicBezTo>
                    <a:pt x="762" y="1454"/>
                    <a:pt x="751" y="1500"/>
                    <a:pt x="696" y="1560"/>
                  </a:cubicBezTo>
                  <a:cubicBezTo>
                    <a:pt x="640" y="1621"/>
                    <a:pt x="557" y="1634"/>
                    <a:pt x="491" y="1593"/>
                  </a:cubicBezTo>
                  <a:close/>
                  <a:moveTo>
                    <a:pt x="902" y="1596"/>
                  </a:moveTo>
                  <a:cubicBezTo>
                    <a:pt x="834" y="1562"/>
                    <a:pt x="804" y="1506"/>
                    <a:pt x="811" y="1426"/>
                  </a:cubicBezTo>
                  <a:cubicBezTo>
                    <a:pt x="830" y="1210"/>
                    <a:pt x="1153" y="1224"/>
                    <a:pt x="1153" y="1440"/>
                  </a:cubicBezTo>
                  <a:cubicBezTo>
                    <a:pt x="1153" y="1508"/>
                    <a:pt x="1111" y="1575"/>
                    <a:pt x="1053" y="1599"/>
                  </a:cubicBezTo>
                  <a:cubicBezTo>
                    <a:pt x="994" y="1624"/>
                    <a:pt x="957" y="1623"/>
                    <a:pt x="902" y="1596"/>
                  </a:cubicBezTo>
                  <a:close/>
                  <a:moveTo>
                    <a:pt x="1304" y="1592"/>
                  </a:moveTo>
                  <a:cubicBezTo>
                    <a:pt x="1244" y="1555"/>
                    <a:pt x="1216" y="1506"/>
                    <a:pt x="1217" y="1439"/>
                  </a:cubicBezTo>
                  <a:cubicBezTo>
                    <a:pt x="1218" y="1339"/>
                    <a:pt x="1287" y="1272"/>
                    <a:pt x="1387" y="1272"/>
                  </a:cubicBezTo>
                  <a:cubicBezTo>
                    <a:pt x="1565" y="1272"/>
                    <a:pt x="1625" y="1488"/>
                    <a:pt x="1475" y="1588"/>
                  </a:cubicBezTo>
                  <a:cubicBezTo>
                    <a:pt x="1419" y="1625"/>
                    <a:pt x="1360" y="1627"/>
                    <a:pt x="1304" y="1592"/>
                  </a:cubicBezTo>
                  <a:close/>
                  <a:moveTo>
                    <a:pt x="1717" y="1599"/>
                  </a:moveTo>
                  <a:cubicBezTo>
                    <a:pt x="1660" y="1574"/>
                    <a:pt x="1620" y="1506"/>
                    <a:pt x="1620" y="1434"/>
                  </a:cubicBezTo>
                  <a:cubicBezTo>
                    <a:pt x="1620" y="1384"/>
                    <a:pt x="1627" y="1368"/>
                    <a:pt x="1672" y="1324"/>
                  </a:cubicBezTo>
                  <a:cubicBezTo>
                    <a:pt x="1719" y="1277"/>
                    <a:pt x="1730" y="1272"/>
                    <a:pt x="1793" y="1272"/>
                  </a:cubicBezTo>
                  <a:cubicBezTo>
                    <a:pt x="1857" y="1272"/>
                    <a:pt x="1868" y="1277"/>
                    <a:pt x="1915" y="1324"/>
                  </a:cubicBezTo>
                  <a:cubicBezTo>
                    <a:pt x="1959" y="1368"/>
                    <a:pt x="1967" y="1384"/>
                    <a:pt x="1967" y="1434"/>
                  </a:cubicBezTo>
                  <a:cubicBezTo>
                    <a:pt x="1967" y="1508"/>
                    <a:pt x="1927" y="1574"/>
                    <a:pt x="1867" y="1599"/>
                  </a:cubicBezTo>
                  <a:cubicBezTo>
                    <a:pt x="1810" y="1623"/>
                    <a:pt x="1773" y="1623"/>
                    <a:pt x="1717" y="1599"/>
                  </a:cubicBezTo>
                  <a:close/>
                  <a:moveTo>
                    <a:pt x="2117" y="1592"/>
                  </a:moveTo>
                  <a:cubicBezTo>
                    <a:pt x="2066" y="1561"/>
                    <a:pt x="2020" y="1492"/>
                    <a:pt x="2020" y="1448"/>
                  </a:cubicBezTo>
                  <a:cubicBezTo>
                    <a:pt x="2020" y="1352"/>
                    <a:pt x="2103" y="1272"/>
                    <a:pt x="2201" y="1272"/>
                  </a:cubicBezTo>
                  <a:cubicBezTo>
                    <a:pt x="2345" y="1272"/>
                    <a:pt x="2426" y="1433"/>
                    <a:pt x="2338" y="1545"/>
                  </a:cubicBezTo>
                  <a:cubicBezTo>
                    <a:pt x="2280" y="1619"/>
                    <a:pt x="2191" y="1637"/>
                    <a:pt x="2117" y="1592"/>
                  </a:cubicBezTo>
                  <a:close/>
                  <a:moveTo>
                    <a:pt x="2530" y="1599"/>
                  </a:moveTo>
                  <a:cubicBezTo>
                    <a:pt x="2465" y="1570"/>
                    <a:pt x="2431" y="1506"/>
                    <a:pt x="2438" y="1426"/>
                  </a:cubicBezTo>
                  <a:cubicBezTo>
                    <a:pt x="2452" y="1261"/>
                    <a:pt x="2656" y="1212"/>
                    <a:pt x="2750" y="1351"/>
                  </a:cubicBezTo>
                  <a:cubicBezTo>
                    <a:pt x="2785" y="1402"/>
                    <a:pt x="2788" y="1453"/>
                    <a:pt x="2761" y="1518"/>
                  </a:cubicBezTo>
                  <a:cubicBezTo>
                    <a:pt x="2727" y="1600"/>
                    <a:pt x="2618" y="1639"/>
                    <a:pt x="2530" y="1599"/>
                  </a:cubicBezTo>
                  <a:close/>
                  <a:moveTo>
                    <a:pt x="107" y="1400"/>
                  </a:moveTo>
                  <a:cubicBezTo>
                    <a:pt x="32" y="1366"/>
                    <a:pt x="0" y="1318"/>
                    <a:pt x="0" y="1238"/>
                  </a:cubicBezTo>
                  <a:cubicBezTo>
                    <a:pt x="0" y="1177"/>
                    <a:pt x="6" y="1161"/>
                    <a:pt x="39" y="1126"/>
                  </a:cubicBezTo>
                  <a:cubicBezTo>
                    <a:pt x="152" y="1008"/>
                    <a:pt x="340" y="1078"/>
                    <a:pt x="340" y="1238"/>
                  </a:cubicBezTo>
                  <a:cubicBezTo>
                    <a:pt x="340" y="1362"/>
                    <a:pt x="215" y="1449"/>
                    <a:pt x="107" y="1400"/>
                  </a:cubicBezTo>
                  <a:close/>
                  <a:moveTo>
                    <a:pt x="478" y="1180"/>
                  </a:moveTo>
                  <a:cubicBezTo>
                    <a:pt x="423" y="1146"/>
                    <a:pt x="402" y="1106"/>
                    <a:pt x="402" y="1036"/>
                  </a:cubicBezTo>
                  <a:cubicBezTo>
                    <a:pt x="402" y="971"/>
                    <a:pt x="432" y="921"/>
                    <a:pt x="491" y="884"/>
                  </a:cubicBezTo>
                  <a:cubicBezTo>
                    <a:pt x="547" y="850"/>
                    <a:pt x="606" y="852"/>
                    <a:pt x="661" y="889"/>
                  </a:cubicBezTo>
                  <a:cubicBezTo>
                    <a:pt x="761" y="956"/>
                    <a:pt x="778" y="1069"/>
                    <a:pt x="702" y="1154"/>
                  </a:cubicBezTo>
                  <a:cubicBezTo>
                    <a:pt x="653" y="1209"/>
                    <a:pt x="544" y="1222"/>
                    <a:pt x="478" y="1180"/>
                  </a:cubicBezTo>
                  <a:close/>
                  <a:moveTo>
                    <a:pt x="865" y="1161"/>
                  </a:moveTo>
                  <a:cubicBezTo>
                    <a:pt x="825" y="1124"/>
                    <a:pt x="816" y="1106"/>
                    <a:pt x="811" y="1051"/>
                  </a:cubicBezTo>
                  <a:cubicBezTo>
                    <a:pt x="804" y="970"/>
                    <a:pt x="835" y="913"/>
                    <a:pt x="904" y="881"/>
                  </a:cubicBezTo>
                  <a:cubicBezTo>
                    <a:pt x="961" y="853"/>
                    <a:pt x="994" y="853"/>
                    <a:pt x="1053" y="878"/>
                  </a:cubicBezTo>
                  <a:cubicBezTo>
                    <a:pt x="1176" y="929"/>
                    <a:pt x="1187" y="1116"/>
                    <a:pt x="1073" y="1183"/>
                  </a:cubicBezTo>
                  <a:cubicBezTo>
                    <a:pt x="1052" y="1195"/>
                    <a:pt x="1008" y="1205"/>
                    <a:pt x="974" y="1205"/>
                  </a:cubicBezTo>
                  <a:cubicBezTo>
                    <a:pt x="923" y="1205"/>
                    <a:pt x="905" y="1198"/>
                    <a:pt x="865" y="1161"/>
                  </a:cubicBezTo>
                  <a:close/>
                  <a:moveTo>
                    <a:pt x="1299" y="1185"/>
                  </a:moveTo>
                  <a:cubicBezTo>
                    <a:pt x="1248" y="1157"/>
                    <a:pt x="1218" y="1103"/>
                    <a:pt x="1217" y="1038"/>
                  </a:cubicBezTo>
                  <a:cubicBezTo>
                    <a:pt x="1216" y="970"/>
                    <a:pt x="1244" y="921"/>
                    <a:pt x="1304" y="884"/>
                  </a:cubicBezTo>
                  <a:cubicBezTo>
                    <a:pt x="1360" y="850"/>
                    <a:pt x="1419" y="852"/>
                    <a:pt x="1475" y="889"/>
                  </a:cubicBezTo>
                  <a:cubicBezTo>
                    <a:pt x="1626" y="990"/>
                    <a:pt x="1564" y="1206"/>
                    <a:pt x="1384" y="1205"/>
                  </a:cubicBezTo>
                  <a:cubicBezTo>
                    <a:pt x="1356" y="1204"/>
                    <a:pt x="1318" y="1196"/>
                    <a:pt x="1299" y="1185"/>
                  </a:cubicBezTo>
                  <a:close/>
                  <a:moveTo>
                    <a:pt x="1698" y="1183"/>
                  </a:moveTo>
                  <a:cubicBezTo>
                    <a:pt x="1586" y="1113"/>
                    <a:pt x="1599" y="928"/>
                    <a:pt x="1720" y="878"/>
                  </a:cubicBezTo>
                  <a:cubicBezTo>
                    <a:pt x="1779" y="853"/>
                    <a:pt x="1812" y="853"/>
                    <a:pt x="1870" y="881"/>
                  </a:cubicBezTo>
                  <a:cubicBezTo>
                    <a:pt x="1991" y="938"/>
                    <a:pt x="2000" y="1116"/>
                    <a:pt x="1886" y="1183"/>
                  </a:cubicBezTo>
                  <a:cubicBezTo>
                    <a:pt x="1839" y="1211"/>
                    <a:pt x="1744" y="1211"/>
                    <a:pt x="1698" y="1183"/>
                  </a:cubicBezTo>
                  <a:close/>
                  <a:moveTo>
                    <a:pt x="2103" y="1178"/>
                  </a:moveTo>
                  <a:cubicBezTo>
                    <a:pt x="2019" y="1127"/>
                    <a:pt x="2000" y="1011"/>
                    <a:pt x="2062" y="933"/>
                  </a:cubicBezTo>
                  <a:cubicBezTo>
                    <a:pt x="2137" y="837"/>
                    <a:pt x="2263" y="836"/>
                    <a:pt x="2338" y="932"/>
                  </a:cubicBezTo>
                  <a:cubicBezTo>
                    <a:pt x="2457" y="1083"/>
                    <a:pt x="2269" y="1279"/>
                    <a:pt x="2103" y="1178"/>
                  </a:cubicBezTo>
                  <a:close/>
                  <a:moveTo>
                    <a:pt x="2491" y="1161"/>
                  </a:moveTo>
                  <a:cubicBezTo>
                    <a:pt x="2396" y="1074"/>
                    <a:pt x="2424" y="919"/>
                    <a:pt x="2543" y="874"/>
                  </a:cubicBezTo>
                  <a:cubicBezTo>
                    <a:pt x="2675" y="824"/>
                    <a:pt x="2808" y="944"/>
                    <a:pt x="2774" y="1080"/>
                  </a:cubicBezTo>
                  <a:cubicBezTo>
                    <a:pt x="2769" y="1100"/>
                    <a:pt x="2745" y="1136"/>
                    <a:pt x="2721" y="1161"/>
                  </a:cubicBezTo>
                  <a:cubicBezTo>
                    <a:pt x="2682" y="1199"/>
                    <a:pt x="2667" y="1205"/>
                    <a:pt x="2608" y="1205"/>
                  </a:cubicBezTo>
                  <a:cubicBezTo>
                    <a:pt x="2549" y="1205"/>
                    <a:pt x="2533" y="1199"/>
                    <a:pt x="2491" y="1161"/>
                  </a:cubicBezTo>
                  <a:close/>
                  <a:moveTo>
                    <a:pt x="891" y="779"/>
                  </a:moveTo>
                  <a:cubicBezTo>
                    <a:pt x="791" y="718"/>
                    <a:pt x="779" y="582"/>
                    <a:pt x="865" y="502"/>
                  </a:cubicBezTo>
                  <a:cubicBezTo>
                    <a:pt x="906" y="465"/>
                    <a:pt x="923" y="458"/>
                    <a:pt x="981" y="458"/>
                  </a:cubicBezTo>
                  <a:cubicBezTo>
                    <a:pt x="1043" y="458"/>
                    <a:pt x="1055" y="463"/>
                    <a:pt x="1102" y="510"/>
                  </a:cubicBezTo>
                  <a:cubicBezTo>
                    <a:pt x="1146" y="555"/>
                    <a:pt x="1153" y="570"/>
                    <a:pt x="1153" y="620"/>
                  </a:cubicBezTo>
                  <a:cubicBezTo>
                    <a:pt x="1153" y="764"/>
                    <a:pt x="1009" y="851"/>
                    <a:pt x="891" y="779"/>
                  </a:cubicBezTo>
                  <a:close/>
                  <a:moveTo>
                    <a:pt x="1327" y="796"/>
                  </a:moveTo>
                  <a:cubicBezTo>
                    <a:pt x="1286" y="781"/>
                    <a:pt x="1232" y="718"/>
                    <a:pt x="1219" y="669"/>
                  </a:cubicBezTo>
                  <a:cubicBezTo>
                    <a:pt x="1208" y="627"/>
                    <a:pt x="1210" y="608"/>
                    <a:pt x="1232" y="559"/>
                  </a:cubicBezTo>
                  <a:cubicBezTo>
                    <a:pt x="1261" y="492"/>
                    <a:pt x="1313" y="458"/>
                    <a:pt x="1387" y="458"/>
                  </a:cubicBezTo>
                  <a:cubicBezTo>
                    <a:pt x="1558" y="458"/>
                    <a:pt x="1622" y="656"/>
                    <a:pt x="1487" y="769"/>
                  </a:cubicBezTo>
                  <a:cubicBezTo>
                    <a:pt x="1446" y="804"/>
                    <a:pt x="1380" y="815"/>
                    <a:pt x="1327" y="796"/>
                  </a:cubicBezTo>
                  <a:close/>
                  <a:moveTo>
                    <a:pt x="1331" y="384"/>
                  </a:moveTo>
                  <a:cubicBezTo>
                    <a:pt x="1174" y="330"/>
                    <a:pt x="1177" y="110"/>
                    <a:pt x="1335" y="58"/>
                  </a:cubicBezTo>
                  <a:cubicBezTo>
                    <a:pt x="1511" y="0"/>
                    <a:pt x="1644" y="246"/>
                    <a:pt x="1496" y="356"/>
                  </a:cubicBezTo>
                  <a:cubicBezTo>
                    <a:pt x="1441" y="398"/>
                    <a:pt x="1394" y="405"/>
                    <a:pt x="1331" y="384"/>
                  </a:cubicBez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51430" tIns="25715" rIns="51430" bIns="25715" numCol="1" anchor="t" anchorCtr="0" compatLnSpc="1">
              <a:prstTxWarp prst="textNoShape">
                <a:avLst/>
              </a:prstTxWarp>
            </a:bodyPr>
            <a:lstStyle/>
            <a:p>
              <a:endParaRPr lang="en-US" sz="900"/>
            </a:p>
          </p:txBody>
        </p:sp>
      </p:grpSp>
      <p:sp>
        <p:nvSpPr>
          <p:cNvPr id="37" name="1. On-page tracker">
            <a:extLst>
              <a:ext uri="{FF2B5EF4-FFF2-40B4-BE49-F238E27FC236}">
                <a16:creationId xmlns:a16="http://schemas.microsoft.com/office/drawing/2014/main" xmlns="" id="{FB33B3F0-6E55-4920-B80F-86F0C48A7FA5}"/>
              </a:ext>
            </a:extLst>
          </p:cNvPr>
          <p:cNvSpPr>
            <a:spLocks noChangeArrowheads="1"/>
          </p:cNvSpPr>
          <p:nvPr/>
        </p:nvSpPr>
        <p:spPr bwMode="gray">
          <a:xfrm>
            <a:off x="158758" y="75764"/>
            <a:ext cx="2426626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t" anchorCtr="0">
            <a:spAutoFit/>
          </a:bodyPr>
          <a:lstStyle/>
          <a:p>
            <a:pPr marL="429768"/>
            <a:r>
              <a:rPr lang="en-US" sz="800" cap="all" dirty="0">
                <a:solidFill>
                  <a:schemeClr val="accent6"/>
                </a:solidFill>
                <a:latin typeface="+mn-lt"/>
              </a:rPr>
              <a:t>Case example 4: GAMIFIED LEARNING</a:t>
            </a:r>
          </a:p>
        </p:txBody>
      </p:sp>
      <p:sp>
        <p:nvSpPr>
          <p:cNvPr id="36" name="Marvintitletrackercircle">
            <a:extLst>
              <a:ext uri="{FF2B5EF4-FFF2-40B4-BE49-F238E27FC236}">
                <a16:creationId xmlns:a16="http://schemas.microsoft.com/office/drawing/2014/main" xmlns="" id="{E096610F-1DA4-4D13-9B7E-8D9949A2A315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58759" y="217488"/>
            <a:ext cx="330200" cy="330200"/>
          </a:xfrm>
          <a:prstGeom prst="ellipse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2000" dirty="0">
                <a:solidFill>
                  <a:schemeClr val="bg1"/>
                </a:solidFill>
                <a:latin typeface="+mj-lt"/>
              </a:rPr>
              <a:t>4</a:t>
            </a:r>
            <a:endParaRPr lang="en-GB" sz="2000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22264083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EEA98057-1910-46DE-AD22-50868C35306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95576126"/>
              </p:ext>
            </p:extLst>
          </p:nvPr>
        </p:nvGraphicFramePr>
        <p:xfrm>
          <a:off x="1495426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7552" name="think-cell Slide" r:id="rId23" imgW="347" imgH="346" progId="TCLayout.ActiveDocument.1">
                  <p:embed/>
                </p:oleObj>
              </mc:Choice>
              <mc:Fallback>
                <p:oleObj name="think-cell Slide" r:id="rId23" imgW="347" imgH="3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495426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C75D268B-BF86-47E7-9B7E-C6510657057B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1493837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endParaRPr lang="en-US" b="1" dirty="0" err="1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xmlns="" id="{A49B065C-EE7D-436F-85F3-E00333886321}"/>
              </a:ext>
            </a:extLst>
          </p:cNvPr>
          <p:cNvSpPr/>
          <p:nvPr/>
        </p:nvSpPr>
        <p:spPr>
          <a:xfrm>
            <a:off x="648344" y="2074863"/>
            <a:ext cx="11002306" cy="1979253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xmlns="" id="{5E86B3C0-E85C-4495-8C97-852952A688B7}"/>
              </a:ext>
            </a:extLst>
          </p:cNvPr>
          <p:cNvSpPr/>
          <p:nvPr/>
        </p:nvSpPr>
        <p:spPr>
          <a:xfrm>
            <a:off x="648344" y="4056063"/>
            <a:ext cx="11002306" cy="9472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3" name="Title 2"/>
          <p:cNvSpPr>
            <a:spLocks noGrp="1"/>
          </p:cNvSpPr>
          <p:nvPr>
            <p:ph type="title"/>
          </p:nvPr>
        </p:nvSpPr>
        <p:spPr>
          <a:xfrm>
            <a:off x="158759" y="230189"/>
            <a:ext cx="10402879" cy="73866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marL="429768"/>
            <a:r>
              <a:rPr lang="en-US" dirty="0"/>
              <a:t>The top scorers on the Ninja test had up to 7% higher sales performance compared to the lowest scorers</a:t>
            </a:r>
            <a:endParaRPr lang="en-GB" dirty="0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xmlns="" id="{0DD4C86A-4D58-422C-97E2-F3F195E4933A}"/>
              </a:ext>
            </a:extLst>
          </p:cNvPr>
          <p:cNvGrpSpPr/>
          <p:nvPr/>
        </p:nvGrpSpPr>
        <p:grpSpPr>
          <a:xfrm>
            <a:off x="8783978" y="976393"/>
            <a:ext cx="2655573" cy="369332"/>
            <a:chOff x="6640827" y="991320"/>
            <a:chExt cx="2655573" cy="369332"/>
          </a:xfrm>
        </p:grpSpPr>
        <p:sp>
          <p:nvSpPr>
            <p:cNvPr id="22" name="Oval 21"/>
            <p:cNvSpPr/>
            <p:nvPr/>
          </p:nvSpPr>
          <p:spPr>
            <a:xfrm>
              <a:off x="6640827" y="991320"/>
              <a:ext cx="481179" cy="230408"/>
            </a:xfrm>
            <a:prstGeom prst="ellipse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GB" sz="1200" dirty="0">
                  <a:solidFill>
                    <a:schemeClr val="tx1"/>
                  </a:solidFill>
                </a:rPr>
                <a:t>XX</a:t>
              </a:r>
            </a:p>
          </p:txBody>
        </p:sp>
        <p:sp>
          <p:nvSpPr>
            <p:cNvPr id="24" name="TextBox 23"/>
            <p:cNvSpPr txBox="1"/>
            <p:nvPr/>
          </p:nvSpPr>
          <p:spPr>
            <a:xfrm>
              <a:off x="7224487" y="991320"/>
              <a:ext cx="2071913" cy="369332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GB" sz="1200" dirty="0"/>
                <a:t>Average accuracy score in Ninja baselining test for bucket</a:t>
              </a:r>
            </a:p>
          </p:txBody>
        </p:sp>
      </p:grpSp>
      <p:sp>
        <p:nvSpPr>
          <p:cNvPr id="32" name="5. Source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/>
          <a:p>
            <a:pPr marL="493713" indent="-493713" defTabSz="895350">
              <a:tabLst>
                <a:tab pos="630238" algn="l"/>
              </a:tabLst>
            </a:pPr>
            <a:r>
              <a:rPr lang="en-US" sz="800" dirty="0">
                <a:solidFill>
                  <a:schemeClr val="accent6"/>
                </a:solidFill>
                <a:latin typeface="+mn-lt"/>
              </a:rPr>
              <a:t>SOURCE: McKinsey Pharma Sales &amp; Marketing Practice</a:t>
            </a:r>
          </a:p>
        </p:txBody>
      </p:sp>
      <p:graphicFrame>
        <p:nvGraphicFramePr>
          <p:cNvPr id="50" name="Chart 49"/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466519474"/>
              </p:ext>
            </p:extLst>
          </p:nvPr>
        </p:nvGraphicFramePr>
        <p:xfrm>
          <a:off x="555625" y="1420813"/>
          <a:ext cx="11177588" cy="36655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5"/>
          </a:graphicData>
        </a:graphic>
      </p:graphicFrame>
      <p:sp>
        <p:nvSpPr>
          <p:cNvPr id="74" name="Text Placeholder 2">
            <a:extLst>
              <a:ext uri="{FF2B5EF4-FFF2-40B4-BE49-F238E27FC236}">
                <a16:creationId xmlns:a16="http://schemas.microsoft.com/office/drawing/2014/main" xmlns="" id="{427F3A9E-B748-4328-8120-3123CFF94336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163513" y="1863725"/>
            <a:ext cx="338138" cy="219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lnSpc>
                <a:spcPct val="90000"/>
              </a:lnSpc>
            </a:pPr>
            <a:fld id="{6955A831-E89C-4CC6-8571-BF74948D040F}" type="datetime'''''''''''''''''''''''''1''''0''''8'''''''''''''''">
              <a:rPr lang="en-US" altLang="en-US" sz="1600">
                <a:sym typeface="+mn-lt"/>
              </a:rPr>
              <a:pPr algn="r">
                <a:lnSpc>
                  <a:spcPct val="90000"/>
                </a:lnSpc>
              </a:pPr>
              <a:t>108</a:t>
            </a:fld>
            <a:endParaRPr lang="en-US" sz="1600" dirty="0">
              <a:sym typeface="+mn-lt"/>
            </a:endParaRPr>
          </a:p>
        </p:txBody>
      </p:sp>
      <p:sp>
        <p:nvSpPr>
          <p:cNvPr id="70" name="Text Placeholder 2">
            <a:extLst>
              <a:ext uri="{FF2B5EF4-FFF2-40B4-BE49-F238E27FC236}">
                <a16:creationId xmlns:a16="http://schemas.microsoft.com/office/drawing/2014/main" xmlns="" id="{1A9B3C46-1EB0-4FC9-9723-BA61621E4CB8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163513" y="3595688"/>
            <a:ext cx="338138" cy="219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lnSpc>
                <a:spcPct val="90000"/>
              </a:lnSpc>
            </a:pPr>
            <a:fld id="{4E156693-2F37-422C-B640-5B9EB751ED07}" type="datetime'''''''''1''''''''''''''0''''''''''''''''''''4'''">
              <a:rPr lang="en-US" altLang="en-US" sz="1600">
                <a:sym typeface="+mn-lt"/>
              </a:rPr>
              <a:pPr algn="r">
                <a:lnSpc>
                  <a:spcPct val="90000"/>
                </a:lnSpc>
              </a:pPr>
              <a:t>104</a:t>
            </a:fld>
            <a:endParaRPr lang="en-US" sz="1600" dirty="0">
              <a:sym typeface="+mn-lt"/>
            </a:endParaRPr>
          </a:p>
        </p:txBody>
      </p:sp>
      <p:sp>
        <p:nvSpPr>
          <p:cNvPr id="69" name="Text Placeholder 2">
            <a:extLst>
              <a:ext uri="{FF2B5EF4-FFF2-40B4-BE49-F238E27FC236}">
                <a16:creationId xmlns:a16="http://schemas.microsoft.com/office/drawing/2014/main" xmlns="" id="{4F0394D0-6DC1-47F5-8E06-99A17CAAA181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163513" y="4029075"/>
            <a:ext cx="338138" cy="219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lnSpc>
                <a:spcPct val="90000"/>
              </a:lnSpc>
            </a:pPr>
            <a:fld id="{0437DE30-FAA7-4462-8A3D-C88A5974F305}" type="datetime'''''''''1''0''''''''''''''''''''3'''''''''''''''''''''''''">
              <a:rPr lang="en-US" altLang="en-US" sz="1600">
                <a:sym typeface="+mn-lt"/>
              </a:rPr>
              <a:pPr algn="r">
                <a:lnSpc>
                  <a:spcPct val="90000"/>
                </a:lnSpc>
              </a:pPr>
              <a:t>103</a:t>
            </a:fld>
            <a:endParaRPr lang="en-US" sz="1600" dirty="0">
              <a:sym typeface="+mn-lt"/>
            </a:endParaRPr>
          </a:p>
        </p:txBody>
      </p:sp>
      <p:sp>
        <p:nvSpPr>
          <p:cNvPr id="68" name="Text Placeholder 2">
            <a:extLst>
              <a:ext uri="{FF2B5EF4-FFF2-40B4-BE49-F238E27FC236}">
                <a16:creationId xmlns:a16="http://schemas.microsoft.com/office/drawing/2014/main" xmlns="" id="{21B2005B-1E85-4080-8B4C-BD2A566322DA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163513" y="4460875"/>
            <a:ext cx="338138" cy="219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lnSpc>
                <a:spcPct val="90000"/>
              </a:lnSpc>
            </a:pPr>
            <a:fld id="{AA93164F-C108-4EFC-99D5-BE2AFE7D9C21}" type="datetime'''''''''''''''''''1''''''''''''''''''''''''''0''''''2'''">
              <a:rPr lang="en-US" altLang="en-US" sz="1600">
                <a:sym typeface="+mn-lt"/>
              </a:rPr>
              <a:pPr algn="r">
                <a:lnSpc>
                  <a:spcPct val="90000"/>
                </a:lnSpc>
              </a:pPr>
              <a:t>102</a:t>
            </a:fld>
            <a:endParaRPr lang="en-US" sz="1600" dirty="0">
              <a:sym typeface="+mn-lt"/>
            </a:endParaRPr>
          </a:p>
        </p:txBody>
      </p:sp>
      <p:sp>
        <p:nvSpPr>
          <p:cNvPr id="67" name="Text Placeholder 2">
            <a:extLst>
              <a:ext uri="{FF2B5EF4-FFF2-40B4-BE49-F238E27FC236}">
                <a16:creationId xmlns:a16="http://schemas.microsoft.com/office/drawing/2014/main" xmlns="" id="{51C0E43F-89A3-45AD-8AD5-BE2D4EA2BF45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163513" y="4894263"/>
            <a:ext cx="338138" cy="219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lnSpc>
                <a:spcPct val="90000"/>
              </a:lnSpc>
            </a:pPr>
            <a:fld id="{C6E6A67F-38BD-4D1A-9B7D-2F89B3B47DA0}" type="datetime'''''''''''''''''''''''''1''''''''''''''''0''''''''1'''''''''''">
              <a:rPr lang="en-US" altLang="en-US" sz="1600">
                <a:sym typeface="+mn-lt"/>
              </a:rPr>
              <a:pPr algn="r">
                <a:lnSpc>
                  <a:spcPct val="90000"/>
                </a:lnSpc>
              </a:pPr>
              <a:t>101</a:t>
            </a:fld>
            <a:endParaRPr lang="en-US" sz="1600" dirty="0">
              <a:sym typeface="+mn-lt"/>
            </a:endParaRPr>
          </a:p>
        </p:txBody>
      </p:sp>
      <p:sp>
        <p:nvSpPr>
          <p:cNvPr id="71" name="Text Placeholder 2">
            <a:extLst>
              <a:ext uri="{FF2B5EF4-FFF2-40B4-BE49-F238E27FC236}">
                <a16:creationId xmlns:a16="http://schemas.microsoft.com/office/drawing/2014/main" xmlns="" id="{02D54A2C-0FBD-4CD4-A978-0C254D3C4ABF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163513" y="3162300"/>
            <a:ext cx="338138" cy="219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lnSpc>
                <a:spcPct val="90000"/>
              </a:lnSpc>
            </a:pPr>
            <a:fld id="{893585D3-EBE4-4799-BBEE-A24F9F42622F}" type="datetime'''''''''''''''''''''''''105'''''''''''">
              <a:rPr lang="en-US" altLang="en-US" sz="1600">
                <a:sym typeface="+mn-lt"/>
              </a:rPr>
              <a:pPr algn="r">
                <a:lnSpc>
                  <a:spcPct val="90000"/>
                </a:lnSpc>
              </a:pPr>
              <a:t>105</a:t>
            </a:fld>
            <a:endParaRPr lang="en-US" sz="1600" dirty="0">
              <a:sym typeface="+mn-lt"/>
            </a:endParaRPr>
          </a:p>
        </p:txBody>
      </p:sp>
      <p:sp>
        <p:nvSpPr>
          <p:cNvPr id="72" name="Text Placeholder 2">
            <a:extLst>
              <a:ext uri="{FF2B5EF4-FFF2-40B4-BE49-F238E27FC236}">
                <a16:creationId xmlns:a16="http://schemas.microsoft.com/office/drawing/2014/main" xmlns="" id="{0374F363-89C5-433A-A5E2-232CE491A59D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163513" y="2728913"/>
            <a:ext cx="338138" cy="219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lnSpc>
                <a:spcPct val="90000"/>
              </a:lnSpc>
            </a:pPr>
            <a:fld id="{97DBCE7E-7C34-4522-8A73-F33301A43341}" type="datetime'''''''''''''''1''0''''''''''''''''''''''''6'''''''''''''''''">
              <a:rPr lang="en-US" altLang="en-US" sz="1600">
                <a:sym typeface="+mn-lt"/>
              </a:rPr>
              <a:pPr algn="r">
                <a:lnSpc>
                  <a:spcPct val="90000"/>
                </a:lnSpc>
              </a:pPr>
              <a:t>106</a:t>
            </a:fld>
            <a:endParaRPr lang="en-US" sz="1600" dirty="0">
              <a:sym typeface="+mn-lt"/>
            </a:endParaRPr>
          </a:p>
        </p:txBody>
      </p:sp>
      <p:sp>
        <p:nvSpPr>
          <p:cNvPr id="73" name="Text Placeholder 2">
            <a:extLst>
              <a:ext uri="{FF2B5EF4-FFF2-40B4-BE49-F238E27FC236}">
                <a16:creationId xmlns:a16="http://schemas.microsoft.com/office/drawing/2014/main" xmlns="" id="{BA82F141-FA48-49D4-AE27-7B8FE249BB7E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163513" y="2297113"/>
            <a:ext cx="338138" cy="219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lnSpc>
                <a:spcPct val="90000"/>
              </a:lnSpc>
            </a:pPr>
            <a:fld id="{541D3ECA-287A-4E66-B69B-8D03E257E489}" type="datetime'''''''''''1''0''''''''''7'''''''''''''">
              <a:rPr lang="en-US" altLang="en-US" sz="1600">
                <a:sym typeface="+mn-lt"/>
              </a:rPr>
              <a:pPr algn="r">
                <a:lnSpc>
                  <a:spcPct val="90000"/>
                </a:lnSpc>
              </a:pPr>
              <a:t>107</a:t>
            </a:fld>
            <a:endParaRPr lang="en-US" sz="1600" dirty="0">
              <a:sym typeface="+mn-lt"/>
            </a:endParaRPr>
          </a:p>
        </p:txBody>
      </p:sp>
      <p:sp>
        <p:nvSpPr>
          <p:cNvPr id="75" name="Text Placeholder 2">
            <a:extLst>
              <a:ext uri="{FF2B5EF4-FFF2-40B4-BE49-F238E27FC236}">
                <a16:creationId xmlns:a16="http://schemas.microsoft.com/office/drawing/2014/main" xmlns="" id="{BBEB7816-4544-4A0E-B779-EF0A8990AC43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163513" y="1430338"/>
            <a:ext cx="338138" cy="219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lnSpc>
                <a:spcPct val="90000"/>
              </a:lnSpc>
            </a:pPr>
            <a:fld id="{743CC56B-3E2A-4A1A-964D-7FBF09436F0F}" type="datetime'''1''''''''''0''''''''''''''''''''9'''''''''">
              <a:rPr lang="en-US" altLang="en-US" sz="1600">
                <a:sym typeface="+mn-lt"/>
              </a:rPr>
              <a:pPr algn="r">
                <a:lnSpc>
                  <a:spcPct val="90000"/>
                </a:lnSpc>
              </a:pPr>
              <a:t>109</a:t>
            </a:fld>
            <a:endParaRPr lang="en-US" sz="1600" dirty="0">
              <a:sym typeface="+mn-lt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xmlns="" id="{E244D14E-F47E-4D57-A29F-9E21A1A2B15B}"/>
              </a:ext>
            </a:extLst>
          </p:cNvPr>
          <p:cNvCxnSpPr>
            <a:cxnSpLocks/>
          </p:cNvCxnSpPr>
          <p:nvPr>
            <p:custDataLst>
              <p:tags r:id="rId14"/>
            </p:custDataLst>
          </p:nvPr>
        </p:nvCxnSpPr>
        <p:spPr bwMode="gray">
          <a:xfrm flipH="1">
            <a:off x="2416175" y="1712913"/>
            <a:ext cx="6088063" cy="0"/>
          </a:xfrm>
          <a:prstGeom prst="line">
            <a:avLst/>
          </a:prstGeom>
          <a:ln w="3175">
            <a:solidFill>
              <a:schemeClr val="accent6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xmlns="" id="{2615862E-C5A1-48F0-B5F9-9967690C00A4}"/>
              </a:ext>
            </a:extLst>
          </p:cNvPr>
          <p:cNvCxnSpPr/>
          <p:nvPr>
            <p:custDataLst>
              <p:tags r:id="rId15"/>
            </p:custDataLst>
          </p:nvPr>
        </p:nvCxnSpPr>
        <p:spPr bwMode="gray">
          <a:xfrm flipV="1">
            <a:off x="2473325" y="1709738"/>
            <a:ext cx="0" cy="2940050"/>
          </a:xfrm>
          <a:prstGeom prst="line">
            <a:avLst/>
          </a:prstGeom>
          <a:ln w="38100">
            <a:solidFill>
              <a:schemeClr val="tx2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">
            <a:extLst>
              <a:ext uri="{FF2B5EF4-FFF2-40B4-BE49-F238E27FC236}">
                <a16:creationId xmlns:a16="http://schemas.microsoft.com/office/drawing/2014/main" xmlns="" id="{65EAA8CF-324D-4595-8857-1B36EA0C2298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5397500" y="5072063"/>
            <a:ext cx="1492250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34769C34-6781-426A-8335-1FD1D34A639B}" type="datetime'''''M''''id'' ''''''''''''''60%'''' Sco''''r''''''''''e''''s'">
              <a:rPr lang="en-US" altLang="en-US" sz="1600"/>
              <a:pPr/>
              <a:t>Mid 60% Scores</a:t>
            </a:fld>
            <a:endParaRPr lang="en-US" sz="1600" dirty="0">
              <a:sym typeface="+mn-lt"/>
            </a:endParaRPr>
          </a:p>
        </p:txBody>
      </p:sp>
      <p:sp>
        <p:nvSpPr>
          <p:cNvPr id="83" name="Text Placeholder 2">
            <a:extLst>
              <a:ext uri="{FF2B5EF4-FFF2-40B4-BE49-F238E27FC236}">
                <a16:creationId xmlns:a16="http://schemas.microsoft.com/office/drawing/2014/main" xmlns="" id="{026BD11E-9E98-4E0B-8AF3-260B56565557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163513" y="1049338"/>
            <a:ext cx="4286250" cy="219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lnSpc>
                <a:spcPct val="90000"/>
              </a:lnSpc>
            </a:pPr>
            <a:r>
              <a:rPr lang="en-US" altLang="en-US" sz="1600" b="1" dirty="0">
                <a:solidFill>
                  <a:schemeClr val="tx2"/>
                </a:solidFill>
                <a:sym typeface="+mn-lt"/>
              </a:rPr>
              <a:t>Avg. target achievement % vs overall scores</a:t>
            </a: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xmlns="" id="{2EEF415F-4CDD-435C-982D-B790910397F5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1568450" y="5072063"/>
            <a:ext cx="1809750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8FA9391D-6C61-4F24-807D-FEE751046332}" type="datetime'B''''ott''''o''m'' ''''20%'''''' ''Sc''''''''''o''r''''''e''s'">
              <a:rPr lang="en-US" altLang="en-US" sz="1600"/>
              <a:pPr/>
              <a:t>Bottom 20% Scores</a:t>
            </a:fld>
            <a:endParaRPr lang="en-US" sz="1600" dirty="0">
              <a:sym typeface="+mn-lt"/>
            </a:endParaRP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xmlns="" id="{0C417A7F-D1A6-40E9-9791-61E796B7A8F1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9069388" y="5072063"/>
            <a:ext cx="1492250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D84B8D28-7CF9-44E3-93E0-CB14DA33B955}" type="datetime'''To''''''p ''2''''0%'''''''''''' Sco''''r''''es'''''''''">
              <a:rPr lang="en-US" altLang="en-US" sz="1600"/>
              <a:pPr/>
              <a:t>Top 20% Scores</a:t>
            </a:fld>
            <a:endParaRPr lang="en-US" sz="1600" dirty="0">
              <a:sym typeface="+mn-lt"/>
            </a:endParaRPr>
          </a:p>
        </p:txBody>
      </p:sp>
      <p:sp>
        <p:nvSpPr>
          <p:cNvPr id="76" name="Text Placeholder 2">
            <a:extLst>
              <a:ext uri="{FF2B5EF4-FFF2-40B4-BE49-F238E27FC236}">
                <a16:creationId xmlns:a16="http://schemas.microsoft.com/office/drawing/2014/main" xmlns="" id="{B7B84762-E80B-43CD-9B3E-04CE62A0B55D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2181225" y="3081338"/>
            <a:ext cx="584200" cy="31115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90000"/>
              </a:lnSpc>
            </a:pPr>
            <a:fld id="{33D10BFA-7B89-4C15-9FF6-F4933400CDD4}" type="datetime'''+''''''7''''''''''''''''''''''''''%'''''''''''''''''''''">
              <a:rPr lang="en-US" altLang="en-US" sz="1600" b="1">
                <a:solidFill>
                  <a:schemeClr val="tx2"/>
                </a:solidFill>
                <a:sym typeface="+mn-lt"/>
              </a:rPr>
              <a:pPr algn="ctr">
                <a:lnSpc>
                  <a:spcPct val="90000"/>
                </a:lnSpc>
              </a:pPr>
              <a:t>+7%</a:t>
            </a:fld>
            <a:endParaRPr lang="en-US" sz="1600" b="1" dirty="0">
              <a:solidFill>
                <a:schemeClr val="tx2"/>
              </a:solidFill>
              <a:sym typeface="+mn-lt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xmlns="" id="{B567BDCF-3F6F-43C6-AE4A-9B67C4045BA0}"/>
              </a:ext>
            </a:extLst>
          </p:cNvPr>
          <p:cNvSpPr>
            <a:spLocks/>
          </p:cNvSpPr>
          <p:nvPr/>
        </p:nvSpPr>
        <p:spPr bwMode="gray">
          <a:xfrm>
            <a:off x="158759" y="5807318"/>
            <a:ext cx="11491891" cy="584775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Ninja analytics additionally used to profile skills of importance – with skills driving high sales performance used to shape learning journey design and performance management</a:t>
            </a:r>
          </a:p>
        </p:txBody>
      </p:sp>
      <p:sp>
        <p:nvSpPr>
          <p:cNvPr id="34" name="1. On-page tracker">
            <a:extLst>
              <a:ext uri="{FF2B5EF4-FFF2-40B4-BE49-F238E27FC236}">
                <a16:creationId xmlns:a16="http://schemas.microsoft.com/office/drawing/2014/main" xmlns="" id="{20EBDA29-147B-463E-9059-8F215FD9D239}"/>
              </a:ext>
            </a:extLst>
          </p:cNvPr>
          <p:cNvSpPr>
            <a:spLocks noChangeArrowheads="1"/>
          </p:cNvSpPr>
          <p:nvPr/>
        </p:nvSpPr>
        <p:spPr bwMode="gray">
          <a:xfrm>
            <a:off x="158758" y="75764"/>
            <a:ext cx="199253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t" anchorCtr="0">
            <a:spAutoFit/>
          </a:bodyPr>
          <a:lstStyle/>
          <a:p>
            <a:r>
              <a:rPr lang="en-US" sz="800" cap="all" dirty="0">
                <a:solidFill>
                  <a:schemeClr val="accent6"/>
                </a:solidFill>
                <a:latin typeface="+mn-lt"/>
              </a:rPr>
              <a:t>Case example 4: GAMIFIED LEARNING</a:t>
            </a:r>
          </a:p>
        </p:txBody>
      </p:sp>
      <p:sp>
        <p:nvSpPr>
          <p:cNvPr id="37" name="Marvintitletrackercircle">
            <a:extLst>
              <a:ext uri="{FF2B5EF4-FFF2-40B4-BE49-F238E27FC236}">
                <a16:creationId xmlns:a16="http://schemas.microsoft.com/office/drawing/2014/main" xmlns="" id="{E096610F-1DA4-4D13-9B7E-8D9949A2A315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158759" y="217488"/>
            <a:ext cx="330200" cy="330200"/>
          </a:xfrm>
          <a:prstGeom prst="ellipse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2000" dirty="0">
                <a:solidFill>
                  <a:schemeClr val="bg1"/>
                </a:solidFill>
                <a:latin typeface="+mj-lt"/>
              </a:rPr>
              <a:t>4</a:t>
            </a:r>
            <a:endParaRPr lang="en-GB" sz="20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xmlns="" id="{23A35766-F4CA-4B2D-9C6F-54F2F6D1CF32}"/>
              </a:ext>
            </a:extLst>
          </p:cNvPr>
          <p:cNvSpPr txBox="1">
            <a:spLocks/>
          </p:cNvSpPr>
          <p:nvPr/>
        </p:nvSpPr>
        <p:spPr>
          <a:xfrm>
            <a:off x="2050267" y="5371305"/>
            <a:ext cx="731816" cy="33297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none" lIns="72009" tIns="72009" rIns="72009" bIns="72009" rtlCol="0" anchor="ctr" anchorCtr="0"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GB" dirty="0"/>
              <a:t>39.8%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xmlns="" id="{B600D457-3345-42BA-B9F2-722306F204E7}"/>
              </a:ext>
            </a:extLst>
          </p:cNvPr>
          <p:cNvSpPr txBox="1">
            <a:spLocks/>
          </p:cNvSpPr>
          <p:nvPr/>
        </p:nvSpPr>
        <p:spPr>
          <a:xfrm>
            <a:off x="5888471" y="5371305"/>
            <a:ext cx="731816" cy="33297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none" lIns="72009" tIns="72009" rIns="72009" bIns="72009" rtlCol="0" anchor="ctr" anchorCtr="0"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GB" dirty="0"/>
              <a:t>52.5%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xmlns="" id="{1BBF9A48-20B0-45B9-9D84-CB70308ECE1F}"/>
              </a:ext>
            </a:extLst>
          </p:cNvPr>
          <p:cNvSpPr txBox="1">
            <a:spLocks/>
          </p:cNvSpPr>
          <p:nvPr/>
        </p:nvSpPr>
        <p:spPr>
          <a:xfrm>
            <a:off x="9563164" y="5371306"/>
            <a:ext cx="731816" cy="33297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none" lIns="72009" tIns="72009" rIns="72009" bIns="72009" rtlCol="0" anchor="ctr" anchorCtr="0"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GB" dirty="0"/>
              <a:t>66.2%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xmlns="" id="{1551B410-40E0-43F3-B54C-DDD9D893C020}"/>
              </a:ext>
            </a:extLst>
          </p:cNvPr>
          <p:cNvSpPr txBox="1"/>
          <p:nvPr/>
        </p:nvSpPr>
        <p:spPr>
          <a:xfrm>
            <a:off x="686444" y="1911350"/>
            <a:ext cx="1423467" cy="184666"/>
          </a:xfrm>
          <a:prstGeom prst="rect">
            <a:avLst/>
          </a:prstGeom>
          <a:solidFill>
            <a:schemeClr val="bg1"/>
          </a:solidFill>
        </p:spPr>
        <p:txBody>
          <a:bodyPr vert="horz" wrap="non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r>
              <a:rPr lang="en-US" sz="1200" dirty="0"/>
              <a:t>80 Percentile (107.6)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xmlns="" id="{4C2B38C9-1107-4D63-AB6A-4A433C2F392E}"/>
              </a:ext>
            </a:extLst>
          </p:cNvPr>
          <p:cNvSpPr txBox="1"/>
          <p:nvPr/>
        </p:nvSpPr>
        <p:spPr>
          <a:xfrm>
            <a:off x="686444" y="3884613"/>
            <a:ext cx="1423467" cy="184666"/>
          </a:xfrm>
          <a:prstGeom prst="rect">
            <a:avLst/>
          </a:prstGeom>
          <a:solidFill>
            <a:schemeClr val="bg1"/>
          </a:solidFill>
        </p:spPr>
        <p:txBody>
          <a:bodyPr vert="horz" wrap="non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r>
              <a:rPr lang="en-US" sz="1200" dirty="0"/>
              <a:t>20 Percentile (103.2)</a:t>
            </a:r>
          </a:p>
        </p:txBody>
      </p:sp>
    </p:spTree>
    <p:extLst>
      <p:ext uri="{BB962C8B-B14F-4D97-AF65-F5344CB8AC3E}">
        <p14:creationId xmlns:p14="http://schemas.microsoft.com/office/powerpoint/2010/main" val="233673439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PVERSION" val="5"/>
  <p:tag name="TPFULLVERSION" val="5.3.2.24"/>
  <p:tag name="PPTVERSION" val="14"/>
  <p:tag name="TPOS" val="2"/>
  <p:tag name="APLORISREVISION" val="14"/>
  <p:tag name="ISNEWSLIDENUMBER" val="True"/>
  <p:tag name="NEWNAMES" val="True"/>
  <p:tag name="THINKCELLPRESENTATIONDONOTDELETE" val="&lt;?xml version=&quot;1.0&quot; encoding=&quot;UTF-16&quot; standalone=&quot;yes&quot;?&gt;&lt;root reqver=&quot;23045&quot;&gt;&lt;version val=&quot;2515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9&quot;&gt;&lt;elem m_fUsage=&quot;1.89116192293290019677E+00&quot;&gt;&lt;m_msothmcolidx val=&quot;0&quot;/&gt;&lt;m_rgb r=&quot;8A&quot; g=&quot;A2&quot; b=&quot;FF&quot;/&gt;&lt;m_nBrightness val=&quot;0&quot;/&gt;&lt;/elem&gt;&lt;elem m_fUsage=&quot;1.65610000000000012754E+00&quot;&gt;&lt;m_msothmcolidx val=&quot;0&quot;/&gt;&lt;m_rgb r=&quot;FF&quot; g=&quot;7D&quot; b=&quot;87&quot;/&gt;&lt;m_nBrightness val=&quot;0&quot;/&gt;&lt;/elem&gt;&lt;elem m_fUsage=&quot;1.36535834209464912448E+00&quot;&gt;&lt;m_msothmcolidx val=&quot;0&quot;/&gt;&lt;m_rgb r=&quot;FB&quot; g=&quot;ED&quot; b=&quot;8E&quot;/&gt;&lt;m_nBrightness val=&quot;0&quot;/&gt;&lt;/elem&gt;&lt;elem m_fUsage=&quot;1.01809753738366515208E+00&quot;&gt;&lt;m_msothmcolidx val=&quot;0&quot;/&gt;&lt;m_rgb r=&quot;F2&quot; g=&quot;7F&quot; b=&quot;00&quot;/&gt;&lt;m_nBrightness val=&quot;0&quot;/&gt;&lt;/elem&gt;&lt;elem m_fUsage=&quot;9.00000000000000022204E-01&quot;&gt;&lt;m_msothmcolidx val=&quot;0&quot;/&gt;&lt;m_rgb r=&quot;9D&quot; g=&quot;EA&quot; b=&quot;99&quot;/&gt;&lt;m_nBrightness val=&quot;0&quot;/&gt;&lt;/elem&gt;&lt;elem m_fUsage=&quot;8.15220109103545254037E-01&quot;&gt;&lt;m_msothmcolidx val=&quot;0&quot;/&gt;&lt;m_rgb r=&quot;A3&quot; g=&quot;B3&quot; b=&quot;00&quot;/&gt;&lt;m_nBrightness val=&quot;0&quot;/&gt;&lt;/elem&gt;&lt;elem m_fUsage=&quot;6.99908989131512560000E-01&quot;&gt;&lt;m_msothmcolidx val=&quot;0&quot;/&gt;&lt;m_rgb r=&quot;CD&quot; g=&quot;20&quot; b=&quot;2C&quot;/&gt;&lt;m_nBrightness val=&quot;0&quot;/&gt;&lt;/elem&gt;&lt;elem m_fUsage=&quot;5.11197461030610145194E-01&quot;&gt;&lt;m_msothmcolidx val=&quot;0&quot;/&gt;&lt;m_rgb r=&quot;FF&quot; g=&quot;B0&quot; b=&quot;8A&quot;/&gt;&lt;m_nBrightness val=&quot;0&quot;/&gt;&lt;/elem&gt;&lt;elem m_fUsage=&quot;3.45291207554393686507E-01&quot;&gt;&lt;m_msothmcolidx val=&quot;0&quot;/&gt;&lt;m_rgb r=&quot;66&quot; g=&quot;66&quot; b=&quot;66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PREVIOUSNAME" val="C:\Users\sivaraman ulaganatha\Desktop\big hjob\Temp Source\Template\Client impact story_Sample (1).pptx"/>
  <p:tag name="MTBTACCENT" val="Text2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9Ivi.DRPOjkXd5RTSBtA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UN2RrpRVC75nP.pN.oRg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0EpqNF9TrS4kTzyTTjL4w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EBmMDRQYSZbQGymOYCzQ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arvintitletrackercircle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95qEJ4JQ46rDHzClCblrw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arvintitletrackercircle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XI4EJwQim8Y.QKx7JeS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arvintitletrackercircle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5mn6Q04TqW8ETMVEBygnA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UVDT.w5SeuWMpn3xH8f_w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pRZ7I0dS5mpAp0bZrpIaQ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MEsRvG_SqCZHgbYDVOe8A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oSn3dFQsqou.KRsnr4Nw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va3BXY3TDGNVgLhR6fARw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dqHAM6iThO5RZAAgiLHIg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wmGVMlRYiYJNh5ppVpC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ZJUsiFSk61G2ZvOpey7A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H0bwsRgQ5OOSrqc0zguiw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NVOOrhtQQGScMH_wq_7pQ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sjfHFlQvSHGP4zoTQzYQ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b5UMBNlTcuoSoaOZyiVQw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qCALWyzSbyqhynJXoOuag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Y9Kwi0QsmeID1UWyi9nA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M6yrIDWSpyVWDXV9RpmJw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zor5NBCQo.WDDhZ.zilDg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OrsyJKR0O3Uxjopiorm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arvintitletrackercircl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heme/theme1.xml><?xml version="1.0" encoding="utf-8"?>
<a:theme xmlns:a="http://schemas.openxmlformats.org/drawingml/2006/main" name="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0.xml><?xml version="1.0" encoding="utf-8"?>
<a:theme xmlns:a="http://schemas.openxmlformats.org/drawingml/2006/main" name="9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1.xml><?xml version="1.0" encoding="utf-8"?>
<a:theme xmlns:a="http://schemas.openxmlformats.org/drawingml/2006/main" name="10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2.xml><?xml version="1.0" encoding="utf-8"?>
<a:theme xmlns:a="http://schemas.openxmlformats.org/drawingml/2006/main" name="11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3.xml><?xml version="1.0" encoding="utf-8"?>
<a:theme xmlns:a="http://schemas.openxmlformats.org/drawingml/2006/main" name="12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4.xml><?xml version="1.0" encoding="utf-8"?>
<a:theme xmlns:a="http://schemas.openxmlformats.org/drawingml/2006/main" name="13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5.xml><?xml version="1.0" encoding="utf-8"?>
<a:theme xmlns:a="http://schemas.openxmlformats.org/drawingml/2006/main" name="14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6.xml><?xml version="1.0" encoding="utf-8"?>
<a:theme xmlns:a="http://schemas.openxmlformats.org/drawingml/2006/main" name="15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7.xml><?xml version="1.0" encoding="utf-8"?>
<a:theme xmlns:a="http://schemas.openxmlformats.org/drawingml/2006/main" name="16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8.xml><?xml version="1.0" encoding="utf-8"?>
<a:theme xmlns:a="http://schemas.openxmlformats.org/drawingml/2006/main" name="17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9.xml><?xml version="1.0" encoding="utf-8"?>
<a:theme xmlns:a="http://schemas.openxmlformats.org/drawingml/2006/main" name="18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2.xml><?xml version="1.0" encoding="utf-8"?>
<a:theme xmlns:a="http://schemas.openxmlformats.org/drawingml/2006/main" name="1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20.xml><?xml version="1.0" encoding="utf-8"?>
<a:theme xmlns:a="http://schemas.openxmlformats.org/drawingml/2006/main" name="M&amp;S Them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M&amp;S Theme" id="{B3C59C3A-AFD1-C14F-8EEE-3BF76D303094}" vid="{262060A8-7AF0-4745-B3F8-1F0C69862F8B}"/>
    </a:ext>
  </a:extLst>
</a:theme>
</file>

<file path=ppt/theme/theme21.xml><?xml version="1.0" encoding="utf-8"?>
<a:theme xmlns:a="http://schemas.openxmlformats.org/drawingml/2006/main" name="Firm Format - template_Grey">
  <a:themeElements>
    <a:clrScheme name="McKinsey Blue with Pink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983"/>
      </a:accent3>
      <a:accent4>
        <a:srgbClr val="002960"/>
      </a:accent4>
      <a:accent5>
        <a:srgbClr val="AD005B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63BA7BF6-B6E9-4263-BAC0-A9858E8AABB2}"/>
    </a:ext>
  </a:extLst>
</a:theme>
</file>

<file path=ppt/theme/theme2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8_Firm Format - template_Blu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4.xml><?xml version="1.0" encoding="utf-8"?>
<a:theme xmlns:a="http://schemas.openxmlformats.org/drawingml/2006/main" name="2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5.xml><?xml version="1.0" encoding="utf-8"?>
<a:theme xmlns:a="http://schemas.openxmlformats.org/drawingml/2006/main" name="3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6.xml><?xml version="1.0" encoding="utf-8"?>
<a:theme xmlns:a="http://schemas.openxmlformats.org/drawingml/2006/main" name="4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7.xml><?xml version="1.0" encoding="utf-8"?>
<a:theme xmlns:a="http://schemas.openxmlformats.org/drawingml/2006/main" name="5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8.xml><?xml version="1.0" encoding="utf-8"?>
<a:theme xmlns:a="http://schemas.openxmlformats.org/drawingml/2006/main" name="6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9.xml><?xml version="1.0" encoding="utf-8"?>
<a:theme xmlns:a="http://schemas.openxmlformats.org/drawingml/2006/main" name="7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832</Words>
  <Application>Microsoft Macintosh PowerPoint</Application>
  <PresentationFormat>Custom</PresentationFormat>
  <Paragraphs>133</Paragraphs>
  <Slides>7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35" baseType="lpstr">
      <vt:lpstr>Calibri</vt:lpstr>
      <vt:lpstr>Georgia</vt:lpstr>
      <vt:lpstr>MS PGothic</vt:lpstr>
      <vt:lpstr>ＭＳ Ｐゴシック</vt:lpstr>
      <vt:lpstr>Wingdings</vt:lpstr>
      <vt:lpstr>Arial</vt:lpstr>
      <vt:lpstr>Firm Format - template_Blue</vt:lpstr>
      <vt:lpstr>1_Firm Format - template_Blue</vt:lpstr>
      <vt:lpstr>8_Firm Format - template_Blue</vt:lpstr>
      <vt:lpstr>2_Firm Format - template_Blue</vt:lpstr>
      <vt:lpstr>3_Firm Format - template_Blue</vt:lpstr>
      <vt:lpstr>4_Firm Format - template_Blue</vt:lpstr>
      <vt:lpstr>5_Firm Format - template_Blue</vt:lpstr>
      <vt:lpstr>6_Firm Format - template_Blue</vt:lpstr>
      <vt:lpstr>7_Firm Format - template_Blue</vt:lpstr>
      <vt:lpstr>9_Firm Format - template_Blue</vt:lpstr>
      <vt:lpstr>10_Firm Format - template_Blue</vt:lpstr>
      <vt:lpstr>11_Firm Format - template_Blue</vt:lpstr>
      <vt:lpstr>12_Firm Format - template_Blue</vt:lpstr>
      <vt:lpstr>13_Firm Format - template_Blue</vt:lpstr>
      <vt:lpstr>14_Firm Format - template_Blue</vt:lpstr>
      <vt:lpstr>15_Firm Format - template_Blue</vt:lpstr>
      <vt:lpstr>16_Firm Format - template_Blue</vt:lpstr>
      <vt:lpstr>17_Firm Format - template_Blue</vt:lpstr>
      <vt:lpstr>18_Firm Format - template_Blue</vt:lpstr>
      <vt:lpstr>M&amp;S Theme</vt:lpstr>
      <vt:lpstr>Firm Format - template_Grey</vt:lpstr>
      <vt:lpstr>think-cell Slide</vt:lpstr>
      <vt:lpstr>Salesforce management poses a unique set of challenges in emerging markets</vt:lpstr>
      <vt:lpstr>Our experience suggests that debottlenecking salesforce productivity can drive 20-30% growth over baseline in 6-9 months in emerging markets</vt:lpstr>
      <vt:lpstr>Salesforce of the future: from ‘Road Warrior’ to ‘Customer Expert’</vt:lpstr>
      <vt:lpstr>Overall context at a leading pharmaceutical company</vt:lpstr>
      <vt:lpstr>We incorporated multiple gamification elements and deployed a engaging, personalized digital microlearning platform</vt:lpstr>
      <vt:lpstr>Impact we had: Sales Ninja received unaided large-scale adoption  and engagement</vt:lpstr>
      <vt:lpstr>The top scorers on the Ninja test had up to 7% higher sales performance compared to the lowest scorers</vt:lpstr>
    </vt:vector>
  </TitlesOfParts>
  <Manager/>
  <Company/>
  <LinksUpToDate>false</LinksUpToDate>
  <SharedDoc>false</SharedDoc>
  <HyperlinkBase/>
  <HyperlinksChanged>false</HyperlinksChanged>
  <AppVersion>15.003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/>
  <cp:lastModifiedBy/>
  <cp:revision>1</cp:revision>
  <cp:lastPrinted>2015-09-09T11:04:28Z</cp:lastPrinted>
  <dcterms:created xsi:type="dcterms:W3CDTF">2018-01-23T08:17:27Z</dcterms:created>
  <dcterms:modified xsi:type="dcterms:W3CDTF">2019-05-22T15:16:26Z</dcterms:modified>
  <cp:category/>
  <cp:contentStatus/>
  <dc:language/>
  <cp:version/>
</cp:coreProperties>
</file>